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wdp" ContentType="image/vnd.ms-photo"/>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8.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9.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4.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5.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6.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9"/>
    <p:sldMasterId id="2147484187" r:id="rId10"/>
    <p:sldMasterId id="2147484530" r:id="rId11"/>
    <p:sldMasterId id="2147484215" r:id="rId12"/>
    <p:sldMasterId id="2147484243" r:id="rId13"/>
    <p:sldMasterId id="2147484349" r:id="rId14"/>
    <p:sldMasterId id="2147484404" r:id="rId15"/>
    <p:sldMasterId id="2147484424" r:id="rId16"/>
    <p:sldMasterId id="2147484443" r:id="rId17"/>
    <p:sldMasterId id="2147484462" r:id="rId18"/>
    <p:sldMasterId id="2147484481" r:id="rId19"/>
    <p:sldMasterId id="2147484500" r:id="rId20"/>
    <p:sldMasterId id="2147484609" r:id="rId21"/>
    <p:sldMasterId id="2147484641" r:id="rId22"/>
    <p:sldMasterId id="2147484669" r:id="rId23"/>
    <p:sldMasterId id="2147484700" r:id="rId24"/>
    <p:sldMasterId id="2147484725" r:id="rId25"/>
  </p:sldMasterIdLst>
  <p:notesMasterIdLst>
    <p:notesMasterId r:id="rId77"/>
  </p:notesMasterIdLst>
  <p:handoutMasterIdLst>
    <p:handoutMasterId r:id="rId78"/>
  </p:handoutMasterIdLst>
  <p:sldIdLst>
    <p:sldId id="844" r:id="rId26"/>
    <p:sldId id="592" r:id="rId27"/>
    <p:sldId id="845" r:id="rId28"/>
    <p:sldId id="878" r:id="rId29"/>
    <p:sldId id="897" r:id="rId30"/>
    <p:sldId id="879" r:id="rId31"/>
    <p:sldId id="873" r:id="rId32"/>
    <p:sldId id="876" r:id="rId33"/>
    <p:sldId id="882" r:id="rId34"/>
    <p:sldId id="881" r:id="rId35"/>
    <p:sldId id="874" r:id="rId36"/>
    <p:sldId id="880" r:id="rId37"/>
    <p:sldId id="846" r:id="rId38"/>
    <p:sldId id="847" r:id="rId39"/>
    <p:sldId id="848" r:id="rId40"/>
    <p:sldId id="851" r:id="rId41"/>
    <p:sldId id="853" r:id="rId42"/>
    <p:sldId id="854" r:id="rId43"/>
    <p:sldId id="855" r:id="rId44"/>
    <p:sldId id="856" r:id="rId45"/>
    <p:sldId id="857" r:id="rId46"/>
    <p:sldId id="858" r:id="rId47"/>
    <p:sldId id="859" r:id="rId48"/>
    <p:sldId id="872" r:id="rId49"/>
    <p:sldId id="860" r:id="rId50"/>
    <p:sldId id="861" r:id="rId51"/>
    <p:sldId id="862" r:id="rId52"/>
    <p:sldId id="863" r:id="rId53"/>
    <p:sldId id="864" r:id="rId54"/>
    <p:sldId id="865" r:id="rId55"/>
    <p:sldId id="866" r:id="rId56"/>
    <p:sldId id="867" r:id="rId57"/>
    <p:sldId id="868" r:id="rId58"/>
    <p:sldId id="869" r:id="rId59"/>
    <p:sldId id="870" r:id="rId60"/>
    <p:sldId id="875" r:id="rId61"/>
    <p:sldId id="883" r:id="rId62"/>
    <p:sldId id="884" r:id="rId63"/>
    <p:sldId id="885" r:id="rId64"/>
    <p:sldId id="886" r:id="rId65"/>
    <p:sldId id="887" r:id="rId66"/>
    <p:sldId id="888" r:id="rId67"/>
    <p:sldId id="889" r:id="rId68"/>
    <p:sldId id="890" r:id="rId69"/>
    <p:sldId id="891" r:id="rId70"/>
    <p:sldId id="892" r:id="rId71"/>
    <p:sldId id="893" r:id="rId72"/>
    <p:sldId id="894" r:id="rId73"/>
    <p:sldId id="895" r:id="rId74"/>
    <p:sldId id="896" r:id="rId75"/>
    <p:sldId id="871" r:id="rId7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844"/>
            <p14:sldId id="592"/>
          </p14:sldIdLst>
        </p14:section>
        <p14:section name="Introduction and Background" id="{B83DA744-BA6E-3D4E-9B4A-E5E58D88E69D}">
          <p14:sldIdLst>
            <p14:sldId id="845"/>
            <p14:sldId id="878"/>
            <p14:sldId id="897"/>
            <p14:sldId id="879"/>
            <p14:sldId id="873"/>
            <p14:sldId id="876"/>
            <p14:sldId id="882"/>
            <p14:sldId id="881"/>
            <p14:sldId id="874"/>
            <p14:sldId id="880"/>
            <p14:sldId id="846"/>
            <p14:sldId id="847"/>
            <p14:sldId id="848"/>
            <p14:sldId id="851"/>
            <p14:sldId id="853"/>
            <p14:sldId id="854"/>
            <p14:sldId id="855"/>
            <p14:sldId id="856"/>
            <p14:sldId id="857"/>
            <p14:sldId id="858"/>
            <p14:sldId id="859"/>
            <p14:sldId id="872"/>
            <p14:sldId id="860"/>
            <p14:sldId id="861"/>
            <p14:sldId id="862"/>
            <p14:sldId id="863"/>
            <p14:sldId id="864"/>
            <p14:sldId id="865"/>
            <p14:sldId id="866"/>
            <p14:sldId id="867"/>
            <p14:sldId id="868"/>
            <p14:sldId id="869"/>
            <p14:sldId id="870"/>
          </p14:sldIdLst>
        </p14:section>
        <p14:section name="Workloads on YARN" id="{EC48AD5A-A3B6-DA4B-B03B-9EAE764018DE}">
          <p14:sldIdLst>
            <p14:sldId id="875"/>
            <p14:sldId id="883"/>
            <p14:sldId id="884"/>
            <p14:sldId id="885"/>
            <p14:sldId id="886"/>
            <p14:sldId id="887"/>
            <p14:sldId id="888"/>
            <p14:sldId id="889"/>
            <p14:sldId id="890"/>
            <p14:sldId id="891"/>
            <p14:sldId id="892"/>
            <p14:sldId id="893"/>
            <p14:sldId id="894"/>
            <p14:sldId id="895"/>
            <p14:sldId id="896"/>
            <p14:sldId id="871"/>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3" name="Ana Adeyemi" initials="AA" lastIdx="53" clrIdx="3"/>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519"/>
    <a:srgbClr val="1978D7"/>
    <a:srgbClr val="FFFFFF"/>
    <a:srgbClr val="F8F8F8"/>
    <a:srgbClr val="CE2F05"/>
    <a:srgbClr val="B42F00"/>
    <a:srgbClr val="DC3C00"/>
    <a:srgbClr val="CB3B22"/>
    <a:srgbClr val="FFFFCC"/>
    <a:srgbClr val="8C2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411" autoAdjust="0"/>
    <p:restoredTop sz="78246" autoAdjust="0"/>
  </p:normalViewPr>
  <p:slideViewPr>
    <p:cSldViewPr snapToGrid="0">
      <p:cViewPr>
        <p:scale>
          <a:sx n="89" d="100"/>
          <a:sy n="89" d="100"/>
        </p:scale>
        <p:origin x="144" y="376"/>
      </p:cViewPr>
      <p:guideLst>
        <p:guide orient="horz" pos="1627"/>
        <p:guide orient="horz" pos="2203"/>
        <p:guide pos="3941"/>
        <p:guide orient="horz" pos="1068"/>
      </p:guideLst>
    </p:cSldViewPr>
  </p:slideViewPr>
  <p:outlineViewPr>
    <p:cViewPr>
      <p:scale>
        <a:sx n="33" d="100"/>
        <a:sy n="33" d="100"/>
      </p:scale>
      <p:origin x="0" y="-9052"/>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5.xml"/><Relationship Id="rId14" Type="http://schemas.openxmlformats.org/officeDocument/2006/relationships/slideMaster" Target="slideMasters/slideMaster6.xml"/><Relationship Id="rId15" Type="http://schemas.openxmlformats.org/officeDocument/2006/relationships/slideMaster" Target="slideMasters/slideMaster7.xml"/><Relationship Id="rId16" Type="http://schemas.openxmlformats.org/officeDocument/2006/relationships/slideMaster" Target="slideMasters/slideMaster8.xml"/><Relationship Id="rId17" Type="http://schemas.openxmlformats.org/officeDocument/2006/relationships/slideMaster" Target="slideMasters/slideMaster9.xml"/><Relationship Id="rId18" Type="http://schemas.openxmlformats.org/officeDocument/2006/relationships/slideMaster" Target="slideMasters/slideMaster10.xml"/><Relationship Id="rId19" Type="http://schemas.openxmlformats.org/officeDocument/2006/relationships/slideMaster" Target="slideMasters/slideMaster11.xml"/><Relationship Id="rId63" Type="http://schemas.openxmlformats.org/officeDocument/2006/relationships/slide" Target="slides/slide38.xml"/><Relationship Id="rId64" Type="http://schemas.openxmlformats.org/officeDocument/2006/relationships/slide" Target="slides/slide39.xml"/><Relationship Id="rId65" Type="http://schemas.openxmlformats.org/officeDocument/2006/relationships/slide" Target="slides/slide40.xml"/><Relationship Id="rId66" Type="http://schemas.openxmlformats.org/officeDocument/2006/relationships/slide" Target="slides/slide41.xml"/><Relationship Id="rId67" Type="http://schemas.openxmlformats.org/officeDocument/2006/relationships/slide" Target="slides/slide42.xml"/><Relationship Id="rId68" Type="http://schemas.openxmlformats.org/officeDocument/2006/relationships/slide" Target="slides/slide43.xml"/><Relationship Id="rId69" Type="http://schemas.openxmlformats.org/officeDocument/2006/relationships/slide" Target="slides/slide44.xml"/><Relationship Id="rId50" Type="http://schemas.openxmlformats.org/officeDocument/2006/relationships/slide" Target="slides/slide25.xml"/><Relationship Id="rId51" Type="http://schemas.openxmlformats.org/officeDocument/2006/relationships/slide" Target="slides/slide26.xml"/><Relationship Id="rId52" Type="http://schemas.openxmlformats.org/officeDocument/2006/relationships/slide" Target="slides/slide27.xml"/><Relationship Id="rId53" Type="http://schemas.openxmlformats.org/officeDocument/2006/relationships/slide" Target="slides/slide28.xml"/><Relationship Id="rId54" Type="http://schemas.openxmlformats.org/officeDocument/2006/relationships/slide" Target="slides/slide29.xml"/><Relationship Id="rId55" Type="http://schemas.openxmlformats.org/officeDocument/2006/relationships/slide" Target="slides/slide30.xml"/><Relationship Id="rId56" Type="http://schemas.openxmlformats.org/officeDocument/2006/relationships/slide" Target="slides/slide31.xml"/><Relationship Id="rId57" Type="http://schemas.openxmlformats.org/officeDocument/2006/relationships/slide" Target="slides/slide32.xml"/><Relationship Id="rId58" Type="http://schemas.openxmlformats.org/officeDocument/2006/relationships/slide" Target="slides/slide33.xml"/><Relationship Id="rId59" Type="http://schemas.openxmlformats.org/officeDocument/2006/relationships/slide" Target="slides/slide34.xml"/><Relationship Id="rId40" Type="http://schemas.openxmlformats.org/officeDocument/2006/relationships/slide" Target="slides/slide15.xml"/><Relationship Id="rId41" Type="http://schemas.openxmlformats.org/officeDocument/2006/relationships/slide" Target="slides/slide16.xml"/><Relationship Id="rId42" Type="http://schemas.openxmlformats.org/officeDocument/2006/relationships/slide" Target="slides/slide17.xml"/><Relationship Id="rId43" Type="http://schemas.openxmlformats.org/officeDocument/2006/relationships/slide" Target="slides/slide18.xml"/><Relationship Id="rId44" Type="http://schemas.openxmlformats.org/officeDocument/2006/relationships/slide" Target="slides/slide19.xml"/><Relationship Id="rId45" Type="http://schemas.openxmlformats.org/officeDocument/2006/relationships/slide" Target="slides/slide20.xml"/><Relationship Id="rId46" Type="http://schemas.openxmlformats.org/officeDocument/2006/relationships/slide" Target="slides/slide21.xml"/><Relationship Id="rId47" Type="http://schemas.openxmlformats.org/officeDocument/2006/relationships/slide" Target="slides/slide22.xml"/><Relationship Id="rId48" Type="http://schemas.openxmlformats.org/officeDocument/2006/relationships/slide" Target="slides/slide23.xml"/><Relationship Id="rId4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slideMaster" Target="slideMasters/slideMaster1.xml"/><Relationship Id="rId30" Type="http://schemas.openxmlformats.org/officeDocument/2006/relationships/slide" Target="slides/slide5.xml"/><Relationship Id="rId31" Type="http://schemas.openxmlformats.org/officeDocument/2006/relationships/slide" Target="slides/slide6.xml"/><Relationship Id="rId32" Type="http://schemas.openxmlformats.org/officeDocument/2006/relationships/slide" Target="slides/slide7.xml"/><Relationship Id="rId33" Type="http://schemas.openxmlformats.org/officeDocument/2006/relationships/slide" Target="slides/slide8.xml"/><Relationship Id="rId34" Type="http://schemas.openxmlformats.org/officeDocument/2006/relationships/slide" Target="slides/slide9.xml"/><Relationship Id="rId35" Type="http://schemas.openxmlformats.org/officeDocument/2006/relationships/slide" Target="slides/slide10.xml"/><Relationship Id="rId36" Type="http://schemas.openxmlformats.org/officeDocument/2006/relationships/slide" Target="slides/slide11.xml"/><Relationship Id="rId37" Type="http://schemas.openxmlformats.org/officeDocument/2006/relationships/slide" Target="slides/slide12.xml"/><Relationship Id="rId38" Type="http://schemas.openxmlformats.org/officeDocument/2006/relationships/slide" Target="slides/slide13.xml"/><Relationship Id="rId39" Type="http://schemas.openxmlformats.org/officeDocument/2006/relationships/slide" Target="slides/slide14.xml"/><Relationship Id="rId80" Type="http://schemas.openxmlformats.org/officeDocument/2006/relationships/presProps" Target="presProps.xml"/><Relationship Id="rId81" Type="http://schemas.openxmlformats.org/officeDocument/2006/relationships/viewProps" Target="viewProps.xml"/><Relationship Id="rId82" Type="http://schemas.openxmlformats.org/officeDocument/2006/relationships/theme" Target="theme/theme1.xml"/><Relationship Id="rId83" Type="http://schemas.openxmlformats.org/officeDocument/2006/relationships/tableStyles" Target="tableStyles.xml"/><Relationship Id="rId70" Type="http://schemas.openxmlformats.org/officeDocument/2006/relationships/slide" Target="slides/slide45.xml"/><Relationship Id="rId71" Type="http://schemas.openxmlformats.org/officeDocument/2006/relationships/slide" Target="slides/slide46.xml"/><Relationship Id="rId72" Type="http://schemas.openxmlformats.org/officeDocument/2006/relationships/slide" Target="slides/slide47.xml"/><Relationship Id="rId20" Type="http://schemas.openxmlformats.org/officeDocument/2006/relationships/slideMaster" Target="slideMasters/slideMaster12.xml"/><Relationship Id="rId21" Type="http://schemas.openxmlformats.org/officeDocument/2006/relationships/slideMaster" Target="slideMasters/slideMaster13.xml"/><Relationship Id="rId22" Type="http://schemas.openxmlformats.org/officeDocument/2006/relationships/slideMaster" Target="slideMasters/slideMaster14.xml"/><Relationship Id="rId23" Type="http://schemas.openxmlformats.org/officeDocument/2006/relationships/slideMaster" Target="slideMasters/slideMaster15.xml"/><Relationship Id="rId24" Type="http://schemas.openxmlformats.org/officeDocument/2006/relationships/slideMaster" Target="slideMasters/slideMaster16.xml"/><Relationship Id="rId25" Type="http://schemas.openxmlformats.org/officeDocument/2006/relationships/slideMaster" Target="slideMasters/slideMaster17.xml"/><Relationship Id="rId26" Type="http://schemas.openxmlformats.org/officeDocument/2006/relationships/slide" Target="slides/slide1.xml"/><Relationship Id="rId27" Type="http://schemas.openxmlformats.org/officeDocument/2006/relationships/slide" Target="slides/slide2.xml"/><Relationship Id="rId28" Type="http://schemas.openxmlformats.org/officeDocument/2006/relationships/slide" Target="slides/slide3.xml"/><Relationship Id="rId29" Type="http://schemas.openxmlformats.org/officeDocument/2006/relationships/slide" Target="slides/slide4.xml"/><Relationship Id="rId73" Type="http://schemas.openxmlformats.org/officeDocument/2006/relationships/slide" Target="slides/slide48.xml"/><Relationship Id="rId74" Type="http://schemas.openxmlformats.org/officeDocument/2006/relationships/slide" Target="slides/slide49.xml"/><Relationship Id="rId75" Type="http://schemas.openxmlformats.org/officeDocument/2006/relationships/slide" Target="slides/slide50.xml"/><Relationship Id="rId76" Type="http://schemas.openxmlformats.org/officeDocument/2006/relationships/slide" Target="slides/slide51.xml"/><Relationship Id="rId77" Type="http://schemas.openxmlformats.org/officeDocument/2006/relationships/notesMaster" Target="notesMasters/notesMaster1.xml"/><Relationship Id="rId78" Type="http://schemas.openxmlformats.org/officeDocument/2006/relationships/handoutMaster" Target="handoutMasters/handoutMaster1.xml"/><Relationship Id="rId79" Type="http://schemas.openxmlformats.org/officeDocument/2006/relationships/commentAuthors" Target="commentAuthors.xml"/><Relationship Id="rId60" Type="http://schemas.openxmlformats.org/officeDocument/2006/relationships/slide" Target="slides/slide35.xml"/><Relationship Id="rId61" Type="http://schemas.openxmlformats.org/officeDocument/2006/relationships/slide" Target="slides/slide36.xml"/><Relationship Id="rId62" Type="http://schemas.openxmlformats.org/officeDocument/2006/relationships/slide" Target="slides/slide37.xml"/><Relationship Id="rId10" Type="http://schemas.openxmlformats.org/officeDocument/2006/relationships/slideMaster" Target="slideMasters/slideMaster2.xml"/><Relationship Id="rId11" Type="http://schemas.openxmlformats.org/officeDocument/2006/relationships/slideMaster" Target="slideMasters/slideMaster3.xml"/><Relationship Id="rId12" Type="http://schemas.openxmlformats.org/officeDocument/2006/relationships/slideMaster" Target="slideMasters/slideMaster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5/14/17 11:5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5/14/17 11:5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 Id="rId3" Type="http://schemas.openxmlformats.org/officeDocument/2006/relationships/hyperlink" Target="http://www.zdnet.com/article/microsoft-claims-azure-now-used-by-half-of-the-fortune-500/" TargetMode="Externa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4" Type="http://schemas.openxmlformats.org/officeDocument/2006/relationships/hyperlink" Target="http://www.datasciencecentral.com/profiles/blogs/hadoop-herd-when-to-use-what" TargetMode="External"/><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4/17 11: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showcase Azure HDInsight positioning</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is 100% Apache Hadoop-based service in the cloud. HDInsight is a Hadoop distribution powered by the cloud. This means HDInsight was architected to handle any amount of data, scaling from terabytes to petabytes on demand. You can spin up any number of nodes anytime. We charge only for the compute and storage you actually use. </a:t>
            </a:r>
          </a:p>
          <a:p>
            <a:pPr marL="342900" marR="0" lvl="0" indent="-342900">
              <a:lnSpc>
                <a:spcPct val="107000"/>
              </a:lnSpc>
              <a:spcBef>
                <a:spcPts val="0"/>
              </a:spcBef>
              <a:spcAft>
                <a:spcPts val="80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get immersive insight using HDInsight with the familiar BI tools, such as Excel, PowerPivot, SQL Server Analysis Services, and SQL Server Reporting Services, to retrieve, analyze, and report data integrated with HDInsight by using either the Power Query add-in or the Microsoft Hive ODBC driver.</a:t>
            </a:r>
          </a:p>
          <a:p>
            <a:pPr marL="0" marR="0">
              <a:lnSpc>
                <a:spcPct val="107000"/>
              </a:lnSpc>
              <a:spcBef>
                <a:spcPts val="0"/>
              </a:spcBef>
              <a:spcAft>
                <a:spcPts val="800"/>
              </a:spcAft>
            </a:pPr>
            <a:r>
              <a:rPr lang="en-US" sz="1200" b="1" kern="1200" dirty="0">
                <a:solidFill>
                  <a:schemeClr val="tx1"/>
                </a:solidFill>
                <a:effectLst/>
                <a:latin typeface="+mn-lt"/>
                <a:ea typeface="+mn-ea"/>
                <a:cs typeface="+mn-cs"/>
              </a:rPr>
              <a:t>RESOURCE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ttps://azure.microsoft.com/en-in/documentation/articles/hdinsight-hadoop-introduction/</a:t>
            </a: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2361441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highlights how Microsoft and Hortonworks promote Open Hadoop</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engineering teams: Joint people on each other’s teams. They report to Hortonworks and Hortonworks report to us. We share resources and have a joint engineering team. This is not just a re-licensing of a distro. We are one engineering team.</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Milestone cadence: We do a 12-month calendar year roadmap with each other. That roadmap is what each company locks to, revisiting it every three months. When Cloudera released Impala, Microsoft and Hortonworks changed their resources to start working on the Stinger project. In CY13, this became a joint commitment to build Tez (vectorized query executor) and Stinger.</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planning and execution </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signoffs (Linux, Windows Azure): Microsoft and Hortonworks signed off on Linux, Windows, and Azure</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ligned offerings: HDP on Windows </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 appliance, HDI service</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roadmap</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CY planning/roadmap development</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Quarterly adjustments</a:t>
            </a:r>
          </a:p>
          <a:p>
            <a:pPr marR="0" lvl="0">
              <a:lnSpc>
                <a:spcPct val="107000"/>
              </a:lnSpc>
              <a:spcBef>
                <a:spcPts val="0"/>
              </a:spcBef>
              <a:tabLst>
                <a:tab pos="457200" algn="l"/>
              </a:tabLs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Hortonworks is making Hadoop an enterprise viable platfor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t;look at partner page on Hortonworks site&gt;</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Engineering align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worked with Hortonworks to develop Hortonworks Data Platform for Window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on Windows Azure and HDInsight on PDW is based on HDP.</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and Hortonworks are working on various Hadoop sub-projects together (Stinger, Tez) contributed over 6K engineering hours, 25K+ lines of code</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Corporate align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is one of Hortonworks’ strategic partners (Q for Audrey)</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marketing alignment (webinars, events strategy, press, etc.)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support alignment (Microsoft provides Lvl1 support and pays Hortonworks for Lvl2 and Lvl3)</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Field align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ortonworks field reps will get quota compensation or relief if HDP for Windows OR if PDW, Azure is sold</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field reps work with Hortonworks reps to get credibility from Hadoop story</a:t>
            </a:r>
          </a:p>
          <a:p>
            <a:pPr algn="l"/>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Calibri"/>
              </a:rPr>
              <a:pPr/>
              <a:t>17</a:t>
            </a:fld>
            <a:endParaRPr lang="en-US" dirty="0">
              <a:solidFill>
                <a:prstClr val="black"/>
              </a:solidFill>
              <a:latin typeface="Calibri"/>
            </a:endParaRPr>
          </a:p>
        </p:txBody>
      </p:sp>
    </p:spTree>
    <p:extLst>
      <p:ext uri="{BB962C8B-B14F-4D97-AF65-F5344CB8AC3E}">
        <p14:creationId xmlns:p14="http://schemas.microsoft.com/office/powerpoint/2010/main" val="31201794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briefly explains why HDInsight is the right customer choice for deployment on either Windows or Linux</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elect Linux or Windows clusters when deploying big </a:t>
            </a:r>
            <a:r>
              <a:rPr lang="en-US" dirty="0"/>
              <a:t>d</a:t>
            </a:r>
            <a:r>
              <a:rPr lang="en-US" sz="1200" kern="1200" dirty="0">
                <a:solidFill>
                  <a:schemeClr val="tx1"/>
                </a:solidFill>
                <a:effectLst/>
                <a:latin typeface="+mn-lt"/>
                <a:ea typeface="+mn-ea"/>
                <a:cs typeface="+mn-cs"/>
              </a:rPr>
              <a:t>ata workloads into Microsoft Azur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ith Windows, leverage existing Windows-based code, including .NET, to scale over all of your data in Azur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ith Linux, customers can more easily move existing Hadoop workloads into the cloud and incorporate additional big data components to run in the servi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y offering a choice for Windows and Linux clusters, Microsoft is enhancing flexibility for customers to create insight from the massive amounts of data being created in the cloud with the OS of their choice</a:t>
            </a: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OURCES</a:t>
            </a:r>
          </a:p>
          <a:p>
            <a:r>
              <a:rPr lang="en-US" sz="1200" kern="1200" dirty="0">
                <a:solidFill>
                  <a:schemeClr val="tx1"/>
                </a:solidFill>
                <a:effectLst/>
                <a:latin typeface="+mn-lt"/>
                <a:ea typeface="+mn-ea"/>
                <a:cs typeface="+mn-cs"/>
              </a:rPr>
              <a:t>https://azure.microsoft.com/en-in/services/hdinsight/</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18</a:t>
            </a:fld>
            <a:endParaRPr lang="en-US" dirty="0"/>
          </a:p>
        </p:txBody>
      </p:sp>
    </p:spTree>
    <p:extLst>
      <p:ext uri="{BB962C8B-B14F-4D97-AF65-F5344CB8AC3E}">
        <p14:creationId xmlns:p14="http://schemas.microsoft.com/office/powerpoint/2010/main" val="659288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you can use Apache Hive in Hadoop on HDInsight and choose how to run your Hive job</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Hive is data warehouse software built on Hadoop that allows you to query and manage large data sets in distributed storage using a SQL-like language called HiveQL. Hive is an abstraction on top of MapReduce. When run, Hive translates queries into a series of MapReduce job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also improve performance dramatically with Stinger/Apache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Tez</a:t>
            </a:r>
            <a:r>
              <a:rPr lang="en-US" sz="1200" dirty="0">
                <a:effectLst/>
                <a:latin typeface="Calibri" panose="020F0502020204030204" pitchFamily="34" charset="0"/>
                <a:ea typeface="Calibri" panose="020F0502020204030204" pitchFamily="34" charset="0"/>
                <a:cs typeface="Times New Roman" panose="02020603050405020304" pitchFamily="18" charset="0"/>
              </a:rPr>
              <a:t> combined with Hive. Microsoft is starting to contribute to the Stinger initiative to dramatically speed up Hive and make it more enterprise-ready. Our main activity in Stinger right now is around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Tez</a:t>
            </a:r>
            <a:r>
              <a:rPr lang="en-US" sz="1200" dirty="0">
                <a:effectLst/>
                <a:latin typeface="Calibri" panose="020F0502020204030204" pitchFamily="34" charset="0"/>
                <a:ea typeface="Calibri" panose="020F0502020204030204" pitchFamily="34" charset="0"/>
                <a:cs typeface="Times New Roman" panose="02020603050405020304" pitchFamily="18" charset="0"/>
              </a:rPr>
              <a:t> and vectorized query execut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200" dirty="0" err="1">
                <a:effectLst/>
                <a:latin typeface="Calibri" panose="020F0502020204030204" pitchFamily="34" charset="0"/>
                <a:ea typeface="Calibri" panose="020F0502020204030204" pitchFamily="34" charset="0"/>
                <a:cs typeface="Times New Roman" panose="02020603050405020304" pitchFamily="18" charset="0"/>
              </a:rPr>
              <a:t>Tez</a:t>
            </a:r>
            <a:r>
              <a:rPr lang="en-US" sz="1200" dirty="0">
                <a:effectLst/>
                <a:latin typeface="Calibri" panose="020F0502020204030204" pitchFamily="34" charset="0"/>
                <a:ea typeface="Calibri" panose="020F0502020204030204" pitchFamily="34" charset="0"/>
                <a:cs typeface="Times New Roman" panose="02020603050405020304" pitchFamily="18" charset="0"/>
              </a:rPr>
              <a:t> is a framework that allows data-intensive applications such as Hive to run much more efficiently at scale. In the latest release of HDInsight, Hive supports running on Tez. Tez is enabled by default for Linux-based HDInsight clusters.</a:t>
            </a:r>
          </a:p>
          <a:p>
            <a:pPr marL="0" marR="0">
              <a:lnSpc>
                <a:spcPct val="107000"/>
              </a:lnSpc>
              <a:spcBef>
                <a:spcPts val="0"/>
              </a:spcBef>
              <a:spcAft>
                <a:spcPts val="800"/>
              </a:spcAft>
            </a:pPr>
            <a:r>
              <a:rPr lang="en-US" sz="1200" b="1" kern="1200" dirty="0">
                <a:solidFill>
                  <a:schemeClr val="tx1"/>
                </a:solidFill>
                <a:effectLst/>
                <a:latin typeface="+mn-lt"/>
                <a:ea typeface="+mn-ea"/>
                <a:cs typeface="+mn-cs"/>
              </a:rPr>
              <a:t>RESOURCE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ttps://azure.microsoft.com/en-in/documentation/articles/hdinsight-use-hive/</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19</a:t>
            </a:fld>
            <a:endParaRPr lang="en-US" dirty="0"/>
          </a:p>
        </p:txBody>
      </p:sp>
    </p:spTree>
    <p:extLst>
      <p:ext uri="{BB962C8B-B14F-4D97-AF65-F5344CB8AC3E}">
        <p14:creationId xmlns:p14="http://schemas.microsoft.com/office/powerpoint/2010/main" val="2182915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briefly explains how HDInsight supports </a:t>
            </a:r>
            <a:r>
              <a:rPr lang="en-US" sz="1200" kern="1200" dirty="0" err="1">
                <a:solidFill>
                  <a:schemeClr val="tx1"/>
                </a:solidFill>
                <a:effectLst/>
                <a:latin typeface="+mn-lt"/>
                <a:ea typeface="+mn-ea"/>
                <a:cs typeface="+mn-cs"/>
              </a:rPr>
              <a:t>Hbas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pache HBase is an open-source, NoSQL database that is built on Hadoop and modeled after Google BigTable. HBase provides random access and strong consistency for large amounts of unstructured and semi-structured data in a schemaless database organized by column families</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HDInsight HBase is offered as a managed cluster that is integrated into the Azure environment. The clusters are configured to store data directly in Azure Blob Storage, which provides low latency and increased elasticity in performance and cost choices.</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RESOURCES</a:t>
            </a:r>
          </a:p>
          <a:p>
            <a:r>
              <a:rPr lang="en-US" sz="1200" kern="1200" dirty="0">
                <a:solidFill>
                  <a:schemeClr val="tx1"/>
                </a:solidFill>
                <a:effectLst/>
                <a:latin typeface="+mn-lt"/>
                <a:ea typeface="+mn-ea"/>
                <a:cs typeface="+mn-cs"/>
              </a:rPr>
              <a:t>https://azure.microsoft.com/en-in/documentation/articles/hdinsight-hbase-overview/</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0</a:t>
            </a:fld>
            <a:endParaRPr lang="en-US" dirty="0"/>
          </a:p>
        </p:txBody>
      </p:sp>
    </p:spTree>
    <p:extLst>
      <p:ext uri="{BB962C8B-B14F-4D97-AF65-F5344CB8AC3E}">
        <p14:creationId xmlns:p14="http://schemas.microsoft.com/office/powerpoint/2010/main" val="4269689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HDInsight supports Mahout</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Mahout is a scalable library of machine learning algorithms that run on Hadoop. Using principles of statistics, machine learning applications teach systems to learn from data and use past outcomes to determine future behavior.</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Mahout contains algorithms for processing data, such as filtering, classification, and clustering.</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supports also includes Apache Storm, an open source stream analytics platform that can process real-time events at large scale. This lets you process millions of events as they’re generated, enabling use cases like Internet of Things (IoT) and gaining insights from your connected devices or web-triggered events.</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1</a:t>
            </a:fld>
            <a:endParaRPr lang="en-US" dirty="0"/>
          </a:p>
        </p:txBody>
      </p:sp>
    </p:spTree>
    <p:extLst>
      <p:ext uri="{BB962C8B-B14F-4D97-AF65-F5344CB8AC3E}">
        <p14:creationId xmlns:p14="http://schemas.microsoft.com/office/powerpoint/2010/main" val="4138989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HDInsight supports Storm</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Storm on HDInsight allows you to create distributed, real-time analytics solutions in the Azure environment by using Apache Hadoop.</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Azure cloud makes Apache Storm easy and cost-effective to deploy, with no hardware to buy, no software to configure, your choice of development tools (Java or C#), and deep integration to Visual Studio. </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It consumes millions of real-time events from a scalable event broker (i.e., Apache Kafka, Azure Event Hub). This brings near real-time analytics capabilities to HDInsight.</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use the language of your choice: Provides support for Storm components written in Java, C#, and Python. Supports a mix of programming languages: Read data using Java, then process it using C#.</a:t>
            </a:r>
          </a:p>
          <a:p>
            <a:pPr marL="342900" marR="0" lvl="0" indent="-342900">
              <a:lnSpc>
                <a:spcPct val="107000"/>
              </a:lnSpc>
              <a:spcBef>
                <a:spcPts val="0"/>
              </a:spcBef>
              <a:spcAft>
                <a:spcPts val="80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image above describes an end-to-end applicability of HDInsight Storm.</a:t>
            </a:r>
          </a:p>
          <a:p>
            <a:r>
              <a:rPr lang="en-US" sz="1200" b="1" kern="1200" dirty="0">
                <a:solidFill>
                  <a:schemeClr val="tx1"/>
                </a:solidFill>
                <a:effectLst/>
                <a:latin typeface="+mn-lt"/>
                <a:ea typeface="+mn-ea"/>
                <a:cs typeface="+mn-cs"/>
              </a:rPr>
              <a:t>RESOURCES</a:t>
            </a:r>
          </a:p>
          <a:p>
            <a:r>
              <a:rPr lang="en-US" dirty="0"/>
              <a:t>https://azure.microsoft.com/en-in/documentation/articles/hdinsight-storm-overview/</a:t>
            </a:r>
            <a:br>
              <a:rPr lang="en-US" dirty="0"/>
            </a:br>
            <a:endParaRPr lang="en-US" dirty="0"/>
          </a:p>
          <a:p>
            <a:endParaRPr lang="en-US" b="1" dirty="0"/>
          </a:p>
        </p:txBody>
      </p:sp>
      <p:sp>
        <p:nvSpPr>
          <p:cNvPr id="4" name="Slide Number Placeholder 3"/>
          <p:cNvSpPr>
            <a:spLocks noGrp="1"/>
          </p:cNvSpPr>
          <p:nvPr>
            <p:ph type="sldNum" sz="quarter" idx="10"/>
          </p:nvPr>
        </p:nvSpPr>
        <p:spPr/>
        <p:txBody>
          <a:bodyPr/>
          <a:lstStyle/>
          <a:p>
            <a:fld id="{F92D37DD-B0D5-45AB-B7D5-15E7BE5DE23B}" type="slidenum">
              <a:rPr lang="en-US" smtClean="0"/>
              <a:t>22</a:t>
            </a:fld>
            <a:endParaRPr lang="en-US" dirty="0"/>
          </a:p>
        </p:txBody>
      </p:sp>
    </p:spTree>
    <p:extLst>
      <p:ext uri="{BB962C8B-B14F-4D97-AF65-F5344CB8AC3E}">
        <p14:creationId xmlns:p14="http://schemas.microsoft.com/office/powerpoint/2010/main" val="2259761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HDInsight supports Spark</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Spark is a parallel processing framework that supports in-memory processing to boost the performance of big-data analysis applications, Spark works for SQL, streaming data, and machine learning.</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Spark delivers queries up to 100x faster than traditional big data queries. It provides a common execution model for tasks like ETL, batch queries, interactive queries, real-time streaming, machine learning, and graph processing on data stored in Azure Storage.</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It make interactive queries over big data in Hadoop using BI tools or open source notebooks. You can create a streaming solution for IOT or a real-time application.</a:t>
            </a:r>
          </a:p>
          <a:p>
            <a:pPr marL="342900" marR="0" lvl="0" indent="-342900">
              <a:lnSpc>
                <a:spcPct val="107000"/>
              </a:lnSpc>
              <a:spcBef>
                <a:spcPts val="0"/>
              </a:spcBef>
              <a:spcAft>
                <a:spcPts val="80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Use machine learning algorithms to be able to predict outcomes in your analysis with Notebook experience of Jupyter/iPython, Zeppelin.</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REFEREN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dirty="0">
                <a:effectLst/>
                <a:latin typeface="Calibri" panose="020F0502020204030204" pitchFamily="34" charset="0"/>
                <a:ea typeface="Calibri" panose="020F0502020204030204" pitchFamily="34" charset="0"/>
                <a:cs typeface="Times New Roman" panose="02020603050405020304" pitchFamily="18" charset="0"/>
              </a:rPr>
              <a:t>https://azure.microsoft.com/en-us/blog/interactive-analytics-on-big-data-with-the-release-of-spark-for-azure-hdinsight</a:t>
            </a:r>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3</a:t>
            </a:fld>
            <a:endParaRPr lang="en-US" dirty="0"/>
          </a:p>
        </p:txBody>
      </p:sp>
    </p:spTree>
    <p:extLst>
      <p:ext uri="{BB962C8B-B14F-4D97-AF65-F5344CB8AC3E}">
        <p14:creationId xmlns:p14="http://schemas.microsoft.com/office/powerpoint/2010/main" val="35200461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94980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briefly explains how HDInsight allows you to add Hadoop </a:t>
            </a:r>
            <a:r>
              <a:rPr lang="en-US" dirty="0"/>
              <a:t>p</a:t>
            </a:r>
            <a:r>
              <a:rPr lang="en-US" sz="1200" kern="1200" dirty="0">
                <a:solidFill>
                  <a:schemeClr val="tx1"/>
                </a:solidFill>
                <a:effectLst/>
                <a:latin typeface="+mn-lt"/>
                <a:ea typeface="+mn-ea"/>
                <a:cs typeface="+mn-cs"/>
              </a:rPr>
              <a:t>rojects</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You can customize Hadoop clusters to run other Hadoop project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is Hadoop ecosystem is a portfolio of fast-moving open source projects that are evolving quickly. To give customers flexibility, HDInsight has the option to deploy arbitrary Hadoop projects through custom scripts. This includes popular projects like Spark, R, </a:t>
            </a:r>
            <a:r>
              <a:rPr lang="en-US" sz="1200" kern="1200" dirty="0" err="1">
                <a:solidFill>
                  <a:schemeClr val="tx1"/>
                </a:solidFill>
                <a:effectLst/>
                <a:latin typeface="+mn-lt"/>
                <a:ea typeface="+mn-ea"/>
                <a:cs typeface="+mn-cs"/>
              </a:rPr>
              <a:t>Giraph</a:t>
            </a:r>
            <a:r>
              <a:rPr lang="en-US" sz="1200" kern="1200" dirty="0">
                <a:solidFill>
                  <a:schemeClr val="tx1"/>
                </a:solidFill>
                <a:effectLst/>
                <a:latin typeface="+mn-lt"/>
                <a:ea typeface="+mn-ea"/>
                <a:cs typeface="+mn-cs"/>
              </a:rPr>
              <a:t>, and Solr.</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5</a:t>
            </a:fld>
            <a:endParaRPr lang="en-US" dirty="0"/>
          </a:p>
        </p:txBody>
      </p:sp>
    </p:spTree>
    <p:extLst>
      <p:ext uri="{BB962C8B-B14F-4D97-AF65-F5344CB8AC3E}">
        <p14:creationId xmlns:p14="http://schemas.microsoft.com/office/powerpoint/2010/main" val="33399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4/17 11: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to use Visual Studio with Hadoop</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Learn how to use HDInsight Tools for Visual Studio to connect to HDInsight clusters and submit Hive queries. It is time consuming to test Hive script against an HDInsight cluster, taking several minutes or more. HDInsight Tools for Visual Studio is capable of validating Hive script locally, without connecting to a live cluster.</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Tools for Visual Studio also enables users to see what’s inside the Hive job by collecting and surfacing the YARN logs of certain Hive jobs.</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also use Visual Studio to visualize Hadoop clusters, tables, and storage.</a:t>
            </a:r>
          </a:p>
          <a:p>
            <a:pPr marL="342900" marR="0" lvl="0" indent="-342900">
              <a:lnSpc>
                <a:spcPct val="107000"/>
              </a:lnSpc>
              <a:spcBef>
                <a:spcPts val="0"/>
              </a:spcBef>
              <a:spcAft>
                <a:spcPts val="80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ive editor supports IntelliSense. HDInsight Tools for Visual Studio supports loading the remote metadata when you are editing your Hive script. For example, when you type "SELECT * FROM", the IntelliSense lists all the suggested table names. When a table name is specified, the column names are listed by the IntelliSense. The tool supports almost all Hive DML statements, subqueries, and the built-in UDFs.</a:t>
            </a:r>
          </a:p>
          <a:p>
            <a:pPr marL="0" marR="0">
              <a:lnSpc>
                <a:spcPct val="107000"/>
              </a:lnSpc>
              <a:spcBef>
                <a:spcPts val="0"/>
              </a:spcBef>
              <a:spcAft>
                <a:spcPts val="800"/>
              </a:spcAft>
            </a:pPr>
            <a:r>
              <a:rPr lang="en-US" sz="1200" b="1" kern="1200" dirty="0">
                <a:solidFill>
                  <a:schemeClr val="tx1"/>
                </a:solidFill>
                <a:effectLst/>
                <a:latin typeface="+mn-lt"/>
                <a:ea typeface="+mn-ea"/>
                <a:cs typeface="+mn-cs"/>
              </a:rPr>
              <a:t>RESOURCES</a:t>
            </a:r>
          </a:p>
          <a:p>
            <a:pPr marL="0" marR="0">
              <a:lnSpc>
                <a:spcPct val="107000"/>
              </a:lnSpc>
              <a:spcBef>
                <a:spcPts val="0"/>
              </a:spcBef>
              <a:spcAft>
                <a:spcPts val="800"/>
              </a:spcAft>
            </a:pPr>
            <a:r>
              <a:rPr lang="en-US"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https://azure.microsoft.com/en-in/documentation/articles/hdinsight-hadoop-visual-studio-tools-get-start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6</a:t>
            </a:fld>
            <a:endParaRPr lang="en-US" dirty="0"/>
          </a:p>
        </p:txBody>
      </p:sp>
    </p:spTree>
    <p:extLst>
      <p:ext uri="{BB962C8B-B14F-4D97-AF65-F5344CB8AC3E}">
        <p14:creationId xmlns:p14="http://schemas.microsoft.com/office/powerpoint/2010/main" val="38540055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you use.</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27</a:t>
            </a:fld>
            <a:endParaRPr lang="en-US" dirty="0">
              <a:solidFill>
                <a:prstClr val="black"/>
              </a:solidFill>
            </a:endParaRPr>
          </a:p>
        </p:txBody>
      </p:sp>
    </p:spTree>
    <p:extLst>
      <p:ext uri="{BB962C8B-B14F-4D97-AF65-F5344CB8AC3E}">
        <p14:creationId xmlns:p14="http://schemas.microsoft.com/office/powerpoint/2010/main" val="1533396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shows the growing momentum of Microsoft Azure</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notes that more than half of the Fortune 500 are among the quarter of a million customers now using Azur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is boosting capacity at an even faster rate than customer growth, doubling its Azure compute and storage capacity every six to nine months along with expansions in Japan, Australia, and its 21 </a:t>
            </a:r>
            <a:r>
              <a:rPr lang="en-US" sz="1200" kern="1200" dirty="0" err="1">
                <a:solidFill>
                  <a:schemeClr val="tx1"/>
                </a:solidFill>
                <a:effectLst/>
                <a:latin typeface="+mn-lt"/>
                <a:ea typeface="+mn-ea"/>
                <a:cs typeface="+mn-cs"/>
              </a:rPr>
              <a:t>Vianet</a:t>
            </a:r>
            <a:r>
              <a:rPr lang="en-US" sz="1200" kern="1200" dirty="0">
                <a:solidFill>
                  <a:schemeClr val="tx1"/>
                </a:solidFill>
                <a:effectLst/>
                <a:latin typeface="+mn-lt"/>
                <a:ea typeface="+mn-ea"/>
                <a:cs typeface="+mn-cs"/>
              </a:rPr>
              <a:t>-operated Chinese Azure cloud.</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the past year, Microsoft has doubled its Azure customer base to 250,000 and averages around 1,000 new customers per day.</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ith over four trillion objects in Windows Azure and an average of 270,000 requests per second, customer requirements grow and are met daily. In peak periods, demand can grow to a staggering 880,000 requests per seco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Diagram shows: Azure easily integrates with your existing IT environment through the largest network of secure private connections, hybrid database and storage solutions, and data residency and encryption features—so your assets stay right where you need them. And with Azure Stack, you can bring the Azure model of application development and deployment to your datacenter. Azure hybrid cloud solutions give you the best of both worlds: more IT options, less complexity and cost. This is why it is one of the best cloud computing services available.</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OURCES</a:t>
            </a:r>
          </a:p>
          <a:p>
            <a:r>
              <a:rPr lang="en-US" sz="1200" u="sng" kern="1200" dirty="0">
                <a:solidFill>
                  <a:schemeClr val="tx1"/>
                </a:solidFill>
                <a:effectLst/>
                <a:latin typeface="+mn-lt"/>
                <a:ea typeface="+mn-ea"/>
                <a:cs typeface="+mn-cs"/>
                <a:hlinkClick r:id="rId3"/>
              </a:rPr>
              <a:t>http://www.zdnet.com/article/microsoft-claims-azure-now-used-by-half-of-the-fortune-500/</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634169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slide highlights how you can skip hardware purchase and maintenance with Azure HDInsight</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ith HDInsight, you can deploy Hadoop in the cloud without buying new hardware or other up-front costs. There’s also no time-consuming installation or setup. Azure does it for you. You can launch your first cluster in minutes.</a:t>
            </a:r>
          </a:p>
          <a:p>
            <a:pPr marL="342900" marR="0" lvl="0" indent="-342900">
              <a:lnSpc>
                <a:spcPct val="107000"/>
              </a:lnSpc>
              <a:spcBef>
                <a:spcPts val="0"/>
              </a:spcBef>
              <a:spcAft>
                <a:spcPts val="80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in the cloud bypasses capacity planning. It handles any amount of data, scaling from terabytes to petabytes on demand. Spin up any number of nodes at any time. We charge only for the compute and storage that you use.</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9</a:t>
            </a:fld>
            <a:endParaRPr lang="en-US" dirty="0"/>
          </a:p>
        </p:txBody>
      </p:sp>
    </p:spTree>
    <p:extLst>
      <p:ext uri="{BB962C8B-B14F-4D97-AF65-F5344CB8AC3E}">
        <p14:creationId xmlns:p14="http://schemas.microsoft.com/office/powerpoint/2010/main" val="472976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slide highlights how Azure is mission-critical and enterprise-ready</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utomatic provisioning of Hadoop clusters. HDInsight clusters are much easier to create than manually configuring Hadoop clusters. </a:t>
            </a: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is managed Hadoop, backed by </a:t>
            </a:r>
            <a:r>
              <a:rPr lang="en-US" dirty="0">
                <a:latin typeface="Calibri" panose="020F0502020204030204" pitchFamily="34" charset="0"/>
                <a:ea typeface="Calibri" panose="020F0502020204030204" pitchFamily="34" charset="0"/>
                <a:cs typeface="Times New Roman" panose="02020603050405020304" pitchFamily="18" charset="0"/>
              </a:rPr>
              <a:t>a</a:t>
            </a:r>
            <a:r>
              <a:rPr lang="en-US" sz="1200" dirty="0">
                <a:effectLst/>
                <a:latin typeface="Calibri" panose="020F0502020204030204" pitchFamily="34" charset="0"/>
                <a:ea typeface="Calibri" panose="020F0502020204030204" pitchFamily="34" charset="0"/>
                <a:cs typeface="Times New Roman" panose="02020603050405020304" pitchFamily="18" charset="0"/>
              </a:rPr>
              <a:t>n SLA. You can get Three Nines of Availability and 99.9% uptime</a:t>
            </a:r>
          </a:p>
          <a:p>
            <a:pPr marL="342900" marR="0" lvl="0" indent="-342900">
              <a:lnSpc>
                <a:spcPct val="107000"/>
              </a:lnSpc>
              <a:spcBef>
                <a:spcPts val="0"/>
              </a:spcBef>
              <a:spcAft>
                <a:spcPts val="80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High availability and reliability of clusters. A second head node has been added to the Hadoop clusters deployed by HDInsight to increase the availability of the service. Standard implementations of Hadoop clusters typically have a single head node. HDInsight removes this single point of failure with the addition of a secondary head node. The switch to a new HA cluster configuration doesn't change the price of the cluster, unless customers create clusters with an extra-large head node instead of the default large-size node.</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0</a:t>
            </a:fld>
            <a:endParaRPr lang="en-US" dirty="0"/>
          </a:p>
        </p:txBody>
      </p:sp>
    </p:spTree>
    <p:extLst>
      <p:ext uri="{BB962C8B-B14F-4D97-AF65-F5344CB8AC3E}">
        <p14:creationId xmlns:p14="http://schemas.microsoft.com/office/powerpoint/2010/main" val="8239421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ts val="1200"/>
              </a:lnSpc>
            </a:pPr>
            <a:r>
              <a:rPr lang="en-US" sz="1200" b="1" dirty="0">
                <a:effectLst/>
                <a:ea typeface="Times New Roman" panose="02020603050405020304" pitchFamily="18" charset="0"/>
              </a:rPr>
              <a:t>OBJECTIVE</a:t>
            </a:r>
            <a:endParaRPr lang="en-US" sz="1200" dirty="0">
              <a:effectLst/>
              <a:ea typeface="Times New Roman" panose="02020603050405020304" pitchFamily="18" charset="0"/>
            </a:endParaRPr>
          </a:p>
          <a:p>
            <a:pPr marL="0" marR="0">
              <a:lnSpc>
                <a:spcPts val="1400"/>
              </a:lnSpc>
            </a:pPr>
            <a:r>
              <a:rPr lang="en-US" sz="1200" dirty="0">
                <a:effectLst/>
                <a:ea typeface="Times New Roman" panose="02020603050405020304" pitchFamily="18" charset="0"/>
              </a:rPr>
              <a:t>This slide shows </a:t>
            </a:r>
            <a:r>
              <a:rPr lang="en-US" dirty="0">
                <a:ea typeface="Times New Roman" panose="02020603050405020304" pitchFamily="18" charset="0"/>
              </a:rPr>
              <a:t>how Azure handles </a:t>
            </a:r>
            <a:r>
              <a:rPr lang="en-US" sz="1200" dirty="0">
                <a:effectLst/>
                <a:ea typeface="Times New Roman" panose="02020603050405020304" pitchFamily="18" charset="0"/>
              </a:rPr>
              <a:t>all maintenance tasks in HDInsight, so that you can focus on your strategic work</a:t>
            </a:r>
            <a:br>
              <a:rPr lang="en-US" sz="1200" dirty="0">
                <a:effectLst/>
                <a:ea typeface="Times New Roman" panose="02020603050405020304" pitchFamily="18" charset="0"/>
              </a:rPr>
            </a:br>
            <a:endParaRPr lang="en-US" sz="1200" dirty="0">
              <a:effectLst/>
              <a:ea typeface="Times New Roman" panose="02020603050405020304" pitchFamily="18" charset="0"/>
            </a:endParaRPr>
          </a:p>
          <a:p>
            <a:pPr marL="0" marR="0">
              <a:lnSpc>
                <a:spcPts val="1400"/>
              </a:lnSpc>
            </a:pPr>
            <a:r>
              <a:rPr lang="en-US" sz="1200" b="1" dirty="0">
                <a:effectLst/>
                <a:ea typeface="Times New Roman" panose="02020603050405020304" pitchFamily="18" charset="0"/>
              </a:rPr>
              <a:t>TALKING POINTS</a:t>
            </a:r>
            <a:endParaRPr lang="en-US" sz="1200" dirty="0">
              <a:effectLst/>
              <a:ea typeface="Times New Roman" panose="02020603050405020304" pitchFamily="18" charset="0"/>
            </a:endParaRPr>
          </a:p>
          <a:p>
            <a:pPr marL="171450" marR="0" lvl="0" indent="-171450">
              <a:lnSpc>
                <a:spcPts val="1400"/>
              </a:lnSpc>
              <a:buFont typeface="Arial" panose="020B0604020202020204" pitchFamily="34" charset="0"/>
              <a:buChar char="•"/>
            </a:pPr>
            <a:r>
              <a:rPr lang="en-US" sz="1200" dirty="0">
                <a:effectLst/>
                <a:ea typeface="Times New Roman" panose="02020603050405020304" pitchFamily="18" charset="0"/>
              </a:rPr>
              <a:t>OS patching and security updates are performed automatically by Azure, requiring minimal IT resources for upgrades/patching.</a:t>
            </a:r>
          </a:p>
          <a:p>
            <a:pPr marL="171450" marR="0" lvl="0" indent="-171450">
              <a:lnSpc>
                <a:spcPts val="1400"/>
              </a:lnSpc>
              <a:buFont typeface="Arial" panose="020B0604020202020204" pitchFamily="34" charset="0"/>
              <a:buChar char="•"/>
            </a:pPr>
            <a:r>
              <a:rPr lang="en-US" sz="1200" dirty="0">
                <a:effectLst/>
                <a:ea typeface="Times New Roman" panose="02020603050405020304" pitchFamily="18" charset="0"/>
              </a:rPr>
              <a:t>Hadoop versions are rapidly releasing throughout the year, so you are always on the latest version of Hadoop without effort. This helps minimize IT resources to update Hadoop versions.</a:t>
            </a:r>
          </a:p>
        </p:txBody>
      </p:sp>
      <p:sp>
        <p:nvSpPr>
          <p:cNvPr id="4" name="Slide Number Placeholder 3"/>
          <p:cNvSpPr>
            <a:spLocks noGrp="1"/>
          </p:cNvSpPr>
          <p:nvPr>
            <p:ph type="sldNum" sz="quarter" idx="10"/>
          </p:nvPr>
        </p:nvSpPr>
        <p:spPr/>
        <p:txBody>
          <a:bodyPr/>
          <a:lstStyle/>
          <a:p>
            <a:fld id="{F92D37DD-B0D5-45AB-B7D5-15E7BE5DE23B}" type="slidenum">
              <a:rPr lang="en-US" smtClean="0"/>
              <a:t>31</a:t>
            </a:fld>
            <a:endParaRPr lang="en-US" dirty="0"/>
          </a:p>
        </p:txBody>
      </p:sp>
    </p:spTree>
    <p:extLst>
      <p:ext uri="{BB962C8B-B14F-4D97-AF65-F5344CB8AC3E}">
        <p14:creationId xmlns:p14="http://schemas.microsoft.com/office/powerpoint/2010/main" val="35137174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slide highlights how Azure is a low-cost solution for an organization </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Open source does not mean free. Deploying Hadoop on-premises still requires servers and skilled Hadoop experts to set up, tune, and maintain them. A cloud service lets you spin up a Hadoop cluster in minutes without up-front costs.</a:t>
            </a: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In the Microsoft Azure cloud, HDInsight is billed by usage: you pay only for the compute and storage you use, when you use it. Spin up a Hadoop cluster, analyze your data, and then shut it down to stop the meter. Clusters can be deleted when no longer used.</a:t>
            </a:r>
          </a:p>
          <a:p>
            <a:pPr marL="342900" marR="0" lvl="0" indent="-342900">
              <a:lnSpc>
                <a:spcPct val="107000"/>
              </a:lnSpc>
              <a:spcBef>
                <a:spcPts val="0"/>
              </a:spcBef>
              <a:spcAft>
                <a:spcPts val="80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Create a Hadoop cluster in minutes, and add nodes on demand. The cloud offers organizations immediate time to value.</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2</a:t>
            </a:fld>
            <a:endParaRPr lang="en-US" dirty="0"/>
          </a:p>
        </p:txBody>
      </p:sp>
    </p:spTree>
    <p:extLst>
      <p:ext uri="{BB962C8B-B14F-4D97-AF65-F5344CB8AC3E}">
        <p14:creationId xmlns:p14="http://schemas.microsoft.com/office/powerpoint/2010/main" val="41380521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13170913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highlights how Azure </a:t>
            </a:r>
            <a:r>
              <a:rPr lang="en-US" dirty="0"/>
              <a:t>is bringing </a:t>
            </a:r>
            <a:r>
              <a:rPr lang="en-US" sz="1200" kern="1200" dirty="0">
                <a:solidFill>
                  <a:schemeClr val="tx1"/>
                </a:solidFill>
                <a:effectLst/>
                <a:latin typeface="+mn-lt"/>
                <a:ea typeface="+mn-ea"/>
                <a:cs typeface="+mn-cs"/>
              </a:rPr>
              <a:t>Hadoop to 1 billion people using Excel and Power BI</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HDInsight combines the best of Hadoop open source technology with the security, elasticity, and manageability that enterprises require. We have built it to integrate with Excel and Power BI―our business intelligence </a:t>
            </a:r>
            <a:r>
              <a:rPr lang="en-US" dirty="0"/>
              <a:t>offering―allowing </a:t>
            </a:r>
            <a:r>
              <a:rPr lang="en-US" sz="1200" kern="1200" dirty="0">
                <a:solidFill>
                  <a:schemeClr val="tx1"/>
                </a:solidFill>
                <a:effectLst/>
                <a:latin typeface="+mn-lt"/>
                <a:ea typeface="+mn-ea"/>
                <a:cs typeface="+mn-cs"/>
              </a:rPr>
              <a:t>people to easily connect to data through HDInsight, and then refine and do business analytics in a turnkey fashion.</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Excel is the BI tool for everyone. Already 1 billion Microsoft Office users can connect to HDInsight to analyze and visualize data. Power BI helps with collaboration and new experiences for Share, Ask, and Access data.</a:t>
            </a:r>
          </a:p>
          <a:p>
            <a:pPr fontAlgn="base">
              <a:spcAft>
                <a:spcPts val="785"/>
              </a:spcAft>
            </a:pPr>
            <a:endParaRPr lang="en-US" b="0" dirty="0">
              <a:solidFill>
                <a:schemeClr val="tx1"/>
              </a:solidFill>
            </a:endParaRPr>
          </a:p>
        </p:txBody>
      </p:sp>
      <p:sp>
        <p:nvSpPr>
          <p:cNvPr id="4" name="Slide Number Placeholder 3"/>
          <p:cNvSpPr>
            <a:spLocks noGrp="1"/>
          </p:cNvSpPr>
          <p:nvPr>
            <p:ph type="sldNum" sz="quarter" idx="10"/>
          </p:nvPr>
        </p:nvSpPr>
        <p:spPr/>
        <p:txBody>
          <a:bodyPr/>
          <a:lstStyle/>
          <a:p>
            <a:fld id="{3BCC380E-B6E6-4400-A57F-835CA92E9EA4}"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1240044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lide shows how you can build complete machine learning solutions in the cloud using Microsoft Azure Machine Learning</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Machine Learning not only provides tools to model predictive analytics, but also provides a fully managed service you can use to deploy your predictive models as ready-to-consume web services. Azure Machine Learning provides tools for creating complete predictive analytics solutions in the cloud: Quickly create, test, operationalize, and manage predictive models. You do not need to buy any hardware nor manually manage virtual machin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Machine Learning has everything you need to create predictive analytics solutions in the cloud from a large algorithm library, to a studio for building models, to an easy way to deploy your model as a web service.</a:t>
            </a:r>
          </a:p>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514820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a:defRPr/>
            </a:pPr>
            <a:fld id="{B4008EB6-D09E-4580-8CD6-DDB14511944F}" type="slidenum">
              <a:rPr lang="en-US" kern="0" smtClean="0">
                <a:solidFill>
                  <a:prstClr val="black"/>
                </a:solidFill>
              </a:rPr>
              <a:pPr>
                <a:defRPr/>
              </a:pPr>
              <a:t>3</a:t>
            </a:fld>
            <a:endParaRPr lang="en-US" kern="0" dirty="0">
              <a:solidFill>
                <a:prstClr val="black"/>
              </a:solidFill>
            </a:endParaRPr>
          </a:p>
        </p:txBody>
      </p:sp>
    </p:spTree>
    <p:extLst>
      <p:ext uri="{BB962C8B-B14F-4D97-AF65-F5344CB8AC3E}">
        <p14:creationId xmlns:p14="http://schemas.microsoft.com/office/powerpoint/2010/main" val="1009075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3 years out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4/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35594792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7610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72787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23041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99493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13530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37403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348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29755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8E533C5-311A-4C6E-AD53-84C66432700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7087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14/17 11:5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329143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17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8705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8E533C5-311A-4C6E-AD53-84C66432700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69808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1845482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661988"/>
            <a:ext cx="5603875" cy="3151187"/>
          </a:xfrm>
        </p:spPr>
      </p:sp>
      <p:sp>
        <p:nvSpPr>
          <p:cNvPr id="3" name="Notes Placeholder 2"/>
          <p:cNvSpPr>
            <a:spLocks noGrp="1"/>
          </p:cNvSpPr>
          <p:nvPr>
            <p:ph type="body" idx="1"/>
          </p:nvPr>
        </p:nvSpPr>
        <p:spPr>
          <a:xfrm>
            <a:off x="397565" y="4005083"/>
            <a:ext cx="6361043" cy="5245292"/>
          </a:xfrm>
        </p:spPr>
        <p:txBody>
          <a:bodyPr/>
          <a:lstStyle/>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dirty="0">
                <a:latin typeface="Segoe UI" pitchFamily="34" charset="0"/>
              </a:rPr>
              <a:t>Full training example for the local HDP Instance: </a:t>
            </a:r>
            <a:r>
              <a:rPr lang="en-US" sz="1700" u="sng" dirty="0">
                <a:latin typeface="Segoe UI Light" pitchFamily="34" charset="0"/>
                <a:ea typeface="+mn-ea"/>
                <a:cs typeface="+mn-cs"/>
                <a:hlinkClick r:id="rId3"/>
              </a:rPr>
              <a:t>http://hortonworks.com/hadoop-tutorial/hello-world-an-introduction-to-hadoop-hcatalog-hive-and-pig/</a:t>
            </a:r>
            <a:r>
              <a:rPr lang="en-US" sz="1700" dirty="0">
                <a:latin typeface="Segoe UI Light" pitchFamily="34" charset="0"/>
                <a:ea typeface="+mn-ea"/>
                <a:cs typeface="+mn-cs"/>
              </a:rPr>
              <a:t> </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1700" dirty="0">
                <a:latin typeface="Segoe UI Light" pitchFamily="34" charset="0"/>
                <a:ea typeface="+mn-ea"/>
                <a:cs typeface="+mn-cs"/>
              </a:rPr>
              <a:t>More detail on the Hadoop Components: </a:t>
            </a:r>
            <a:r>
              <a:rPr lang="en-US" sz="1700" dirty="0">
                <a:latin typeface="Segoe UI Light" pitchFamily="34" charset="0"/>
                <a:ea typeface="+mn-ea"/>
                <a:cs typeface="+mn-cs"/>
                <a:hlinkClick r:id="rId4"/>
              </a:rPr>
              <a:t>http://www.datasciencecentral.com/profiles/blogs/hadoop-herd-when-to-use-what</a:t>
            </a:r>
            <a:r>
              <a:rPr lang="en-US" sz="1700" dirty="0">
                <a:latin typeface="Segoe UI Light" pitchFamily="34" charset="0"/>
                <a:ea typeface="+mn-ea"/>
                <a:cs typeface="+mn-cs"/>
              </a:rPr>
              <a:t>  </a:t>
            </a:r>
            <a:endParaRPr lang="en-IN" sz="900" b="1" dirty="0">
              <a:latin typeface="Segoe UI" pitchFamily="34" charset="0"/>
              <a:ea typeface="+mn-ea"/>
              <a:cs typeface="+mn-cs"/>
            </a:endParaRP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catalog</a:t>
            </a:r>
            <a:r>
              <a:rPr lang="en-IN" sz="900" b="0" dirty="0">
                <a:latin typeface="Segoe UI" pitchFamily="34" charset="0"/>
                <a:ea typeface="+mn-ea"/>
                <a:cs typeface="+mn-cs"/>
              </a:rPr>
              <a:t> – exposes hive metadata to other applications, giving users a relational view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base</a:t>
            </a:r>
            <a:r>
              <a:rPr lang="en-IN" sz="900" b="0" dirty="0">
                <a:latin typeface="Segoe UI" pitchFamily="34" charset="0"/>
                <a:ea typeface="+mn-ea"/>
                <a:cs typeface="+mn-cs"/>
              </a:rPr>
              <a:t> - </a:t>
            </a:r>
            <a:r>
              <a:rPr lang="en-US" sz="900" b="0" dirty="0">
                <a:latin typeface="Segoe UI" pitchFamily="34" charset="0"/>
                <a:ea typeface="+mn-ea"/>
                <a:cs typeface="+mn-cs"/>
              </a:rPr>
              <a:t>A non-relational (NoSQL) database that runs on top of HDFS, random-</a:t>
            </a:r>
            <a:r>
              <a:rPr lang="en-US" sz="900" b="0" dirty="0" err="1">
                <a:latin typeface="Segoe UI" pitchFamily="34" charset="0"/>
                <a:ea typeface="+mn-ea"/>
                <a:cs typeface="+mn-cs"/>
              </a:rPr>
              <a:t>realtime</a:t>
            </a:r>
            <a:r>
              <a:rPr lang="en-US" sz="900" b="0" dirty="0">
                <a:latin typeface="Segoe UI" pitchFamily="34" charset="0"/>
                <a:ea typeface="+mn-ea"/>
                <a:cs typeface="+mn-cs"/>
              </a:rPr>
              <a:t> reads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err="1">
                <a:latin typeface="Segoe UI" pitchFamily="34" charset="0"/>
                <a:ea typeface="+mn-ea"/>
                <a:cs typeface="+mn-cs"/>
              </a:rPr>
              <a:t>Polybase</a:t>
            </a:r>
            <a:r>
              <a:rPr lang="en-US" sz="900" b="0" dirty="0">
                <a:latin typeface="Segoe UI" pitchFamily="34" charset="0"/>
                <a:ea typeface="+mn-ea"/>
                <a:cs typeface="+mn-cs"/>
              </a:rPr>
              <a:t> - </a:t>
            </a:r>
            <a:r>
              <a:rPr lang="en-US" sz="900" b="0" dirty="0" err="1">
                <a:latin typeface="Segoe UI" pitchFamily="34" charset="0"/>
                <a:ea typeface="+mn-ea"/>
                <a:cs typeface="+mn-cs"/>
              </a:rPr>
              <a:t>PolyBase</a:t>
            </a:r>
            <a:r>
              <a:rPr lang="en-US" sz="900" b="0" dirty="0">
                <a:latin typeface="Segoe UI" pitchFamily="34" charset="0"/>
                <a:ea typeface="+mn-ea"/>
                <a:cs typeface="+mn-cs"/>
              </a:rPr>
              <a:t> is a technology that accesses and combines both non-relational and relational data, all from within SQL Server. It allows you to run queries on external data in Hadoop or Azure blob storage. The queries are optimized to push computation to Hadoop</a:t>
            </a:r>
          </a:p>
          <a:p>
            <a:pPr marL="642983" lvl="1"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a:latin typeface="Segoe UI" pitchFamily="34" charset="0"/>
                <a:ea typeface="+mn-ea"/>
                <a:cs typeface="+mn-cs"/>
              </a:rPr>
              <a:t>https://msdn.microsoft.com/en-us/library/mt143171.aspx</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endParaRPr lang="en-US" sz="900" b="0" dirty="0">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0699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7</a:t>
            </a:fld>
            <a:endParaRPr lang="en-US" dirty="0"/>
          </a:p>
        </p:txBody>
      </p:sp>
    </p:spTree>
    <p:extLst>
      <p:ext uri="{BB962C8B-B14F-4D97-AF65-F5344CB8AC3E}">
        <p14:creationId xmlns:p14="http://schemas.microsoft.com/office/powerpoint/2010/main" val="2195199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13</a:t>
            </a:fld>
            <a:endParaRPr lang="en-US" dirty="0"/>
          </a:p>
        </p:txBody>
      </p:sp>
    </p:spTree>
    <p:extLst>
      <p:ext uri="{BB962C8B-B14F-4D97-AF65-F5344CB8AC3E}">
        <p14:creationId xmlns:p14="http://schemas.microsoft.com/office/powerpoint/2010/main" val="1557329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Introduces Microsoft HDInsight</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HDInsight deploys and provisions managed Apache Hadoop clusters in the cloud, providing a software framework designed to process, analyze, and report on big data with high reliability and availability. </a:t>
            </a:r>
          </a:p>
          <a:p>
            <a:r>
              <a:rPr lang="en-US" sz="1200" kern="1200" dirty="0">
                <a:solidFill>
                  <a:schemeClr val="tx1"/>
                </a:solidFill>
                <a:effectLst/>
                <a:latin typeface="+mn-lt"/>
                <a:ea typeface="+mn-ea"/>
                <a:cs typeface="+mn-cs"/>
              </a:rPr>
              <a:t>HDInsight uses the </a:t>
            </a:r>
            <a:r>
              <a:rPr lang="en-US" sz="1200" b="1" kern="1200" dirty="0">
                <a:solidFill>
                  <a:schemeClr val="tx1"/>
                </a:solidFill>
                <a:effectLst/>
                <a:latin typeface="+mn-lt"/>
                <a:ea typeface="+mn-ea"/>
                <a:cs typeface="+mn-cs"/>
              </a:rPr>
              <a:t>Hortonworks Data Platform (HDP)</a:t>
            </a:r>
            <a:r>
              <a:rPr lang="en-US" sz="1200" kern="1200" dirty="0">
                <a:solidFill>
                  <a:schemeClr val="tx1"/>
                </a:solidFill>
                <a:effectLst/>
                <a:latin typeface="+mn-lt"/>
                <a:ea typeface="+mn-ea"/>
                <a:cs typeface="+mn-cs"/>
              </a:rPr>
              <a:t> Hadoop distribution. Hadoop often refers to the entire Hadoop ecosystem of components, which includes Apache HBase, Apache Spark, and Apache Storm, as well as other technologies under the Hadoop umbrellas.</a:t>
            </a:r>
          </a:p>
          <a:p>
            <a:r>
              <a:rPr lang="en-US" sz="1200" kern="1200" dirty="0">
                <a:solidFill>
                  <a:schemeClr val="tx1"/>
                </a:solidFill>
                <a:effectLst/>
                <a:latin typeface="+mn-lt"/>
                <a:ea typeface="+mn-ea"/>
                <a:cs typeface="+mn-cs"/>
              </a:rPr>
              <a:t>You can deploy these technologies on Windows or Linux cluster and can spin up the cluster in minutes. You can process semi-structured and unstructured data and develop in Java, .Net, Python, and more. </a:t>
            </a:r>
          </a:p>
          <a:p>
            <a:r>
              <a:rPr lang="en-US" sz="1200" kern="1200" dirty="0">
                <a:solidFill>
                  <a:schemeClr val="tx1"/>
                </a:solidFill>
                <a:effectLst/>
                <a:latin typeface="+mn-lt"/>
                <a:ea typeface="+mn-ea"/>
                <a:cs typeface="+mn-cs"/>
              </a:rPr>
              <a:t>You can also visualize your data in Excel, Tableau, or Power BI.  It integrates with the following:</a:t>
            </a:r>
          </a:p>
          <a:p>
            <a:pPr marL="171450" lvl="1" indent="-171450">
              <a:buFont typeface="Arial" panose="020B0604020202020204" pitchFamily="34" charset="0"/>
              <a:buChar char="•"/>
            </a:pPr>
            <a:r>
              <a:rPr lang="en-US" sz="1200" kern="1200" dirty="0">
                <a:solidFill>
                  <a:schemeClr val="tx1"/>
                </a:solidFill>
                <a:effectLst/>
                <a:latin typeface="+mn-lt"/>
                <a:ea typeface="+mn-ea"/>
                <a:cs typeface="+mn-cs"/>
              </a:rPr>
              <a:t>Azure Blob Storage and Azure Data Lake Store for Hadoop File System (HDFS) </a:t>
            </a:r>
          </a:p>
          <a:p>
            <a:pPr marL="171450" lvl="1" indent="-171450">
              <a:buFont typeface="Arial" panose="020B0604020202020204" pitchFamily="34" charset="0"/>
              <a:buChar char="•"/>
            </a:pPr>
            <a:r>
              <a:rPr lang="en-US" sz="1200" kern="1200" dirty="0">
                <a:solidFill>
                  <a:schemeClr val="tx1"/>
                </a:solidFill>
                <a:effectLst/>
                <a:latin typeface="+mn-lt"/>
                <a:ea typeface="+mn-ea"/>
                <a:cs typeface="+mn-cs"/>
              </a:rPr>
              <a:t>Azure Portal for management and administration</a:t>
            </a:r>
          </a:p>
          <a:p>
            <a:pPr marL="171450" lvl="1" indent="-171450">
              <a:buFont typeface="Arial" panose="020B0604020202020204" pitchFamily="34" charset="0"/>
              <a:buChar char="•"/>
            </a:pPr>
            <a:r>
              <a:rPr lang="en-US" sz="1200" kern="1200" dirty="0">
                <a:solidFill>
                  <a:schemeClr val="tx1"/>
                </a:solidFill>
                <a:effectLst/>
                <a:latin typeface="+mn-lt"/>
                <a:ea typeface="+mn-ea"/>
                <a:cs typeface="+mn-cs"/>
              </a:rPr>
              <a:t>Visual Studio for application development tooling</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RESOURCES</a:t>
            </a:r>
          </a:p>
          <a:p>
            <a:r>
              <a:rPr lang="en-US" sz="1200" b="1" kern="1200" dirty="0">
                <a:solidFill>
                  <a:schemeClr val="tx1"/>
                </a:solidFill>
                <a:effectLst/>
                <a:latin typeface="+mn-lt"/>
                <a:ea typeface="+mn-ea"/>
                <a:cs typeface="+mn-cs"/>
              </a:rPr>
              <a:t>https://azure.microsoft.com/en-in/documentation/articles/hdinsight-hadoop-introduction/</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14</a:t>
            </a:fld>
            <a:endParaRPr lang="en-US" dirty="0"/>
          </a:p>
        </p:txBody>
      </p:sp>
    </p:spTree>
    <p:extLst>
      <p:ext uri="{BB962C8B-B14F-4D97-AF65-F5344CB8AC3E}">
        <p14:creationId xmlns:p14="http://schemas.microsoft.com/office/powerpoint/2010/main" val="2574165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lists some benefits of Hadoop as an Azure service</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HDInsight, deploy Hadoop in the cloud without buying new hardware or incurring other up-front costs. There is also no time-consuming installation or setup. Azure does it for you. Launch your first cluster in minutes.</a:t>
            </a:r>
          </a:p>
          <a:p>
            <a:pPr lvl="0"/>
            <a:r>
              <a:rPr lang="en-US" sz="1200" kern="1200" dirty="0">
                <a:solidFill>
                  <a:schemeClr val="tx1"/>
                </a:solidFill>
                <a:effectLst/>
                <a:latin typeface="+mn-lt"/>
                <a:ea typeface="+mn-ea"/>
                <a:cs typeface="+mn-cs"/>
              </a:rPr>
              <a:t>Azure HDInsight provides a software framework designed to process, analyze, and report on big data with high reliability and availability (data reuse and sharing, elastic scale-out, lower data storage costs, and protection against data loss).</a:t>
            </a:r>
          </a:p>
          <a:p>
            <a:pPr lvl="0"/>
            <a:r>
              <a:rPr lang="en-US" sz="1200" kern="1200" dirty="0">
                <a:solidFill>
                  <a:schemeClr val="tx1"/>
                </a:solidFill>
                <a:effectLst/>
                <a:latin typeface="+mn-lt"/>
                <a:ea typeface="+mn-ea"/>
                <a:cs typeface="+mn-cs"/>
              </a:rPr>
              <a:t>The high-speed flat networks in Azure datacenters provide fast access between the virtual machines in the cluster and Azure Blob Storage or Azure Data Lake Store, so data movement is very efficient. </a:t>
            </a:r>
          </a:p>
          <a:p>
            <a:pPr lvl="0"/>
            <a:r>
              <a:rPr lang="en-US" sz="1200" kern="1200" dirty="0">
                <a:solidFill>
                  <a:schemeClr val="tx1"/>
                </a:solidFill>
                <a:effectLst/>
                <a:latin typeface="+mn-lt"/>
                <a:ea typeface="+mn-ea"/>
                <a:cs typeface="+mn-cs"/>
              </a:rPr>
              <a:t>HDInsight also integrates with BI tools such as Power BI, Excel, SQL Server Analysis Services, and SQL Server Reporting Services.</a:t>
            </a: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OURCES</a:t>
            </a:r>
          </a:p>
          <a:p>
            <a:r>
              <a:rPr lang="en-US" sz="1200" b="1" kern="1200" dirty="0">
                <a:solidFill>
                  <a:schemeClr val="tx1"/>
                </a:solidFill>
                <a:effectLst/>
                <a:latin typeface="+mn-lt"/>
                <a:ea typeface="+mn-ea"/>
                <a:cs typeface="+mn-cs"/>
              </a:rPr>
              <a:t>https://azure.microsoft.com/en-in/services/hdinsigh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15</a:t>
            </a:fld>
            <a:endParaRPr lang="en-US" dirty="0"/>
          </a:p>
        </p:txBody>
      </p:sp>
    </p:spTree>
    <p:extLst>
      <p:ext uri="{BB962C8B-B14F-4D97-AF65-F5344CB8AC3E}">
        <p14:creationId xmlns:p14="http://schemas.microsoft.com/office/powerpoint/2010/main" val="1772514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2.png"/><Relationship Id="rId3" Type="http://schemas.openxmlformats.org/officeDocument/2006/relationships/image" Target="../media/image13.pn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 Id="rId3" Type="http://schemas.openxmlformats.org/officeDocument/2006/relationships/image" Target="../media/image13.pn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5.pn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 Id="rId3" Type="http://schemas.microsoft.com/office/2007/relationships/hdphoto" Target="../media/hdphoto1.wdp"/></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5.pn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jpeg"/><Relationship Id="rId3" Type="http://schemas.openxmlformats.org/officeDocument/2006/relationships/image" Target="../media/image15.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7.pn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8.jp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7.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emf"/><Relationship Id="rId5" Type="http://schemas.openxmlformats.org/officeDocument/2006/relationships/image" Target="../media/image22.emf"/><Relationship Id="rId1" Type="http://schemas.openxmlformats.org/officeDocument/2006/relationships/slideMaster" Target="../slideMasters/slideMaster17.xml"/><Relationship Id="rId2" Type="http://schemas.openxmlformats.org/officeDocument/2006/relationships/image" Target="../media/image17.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2384"/>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2384"/>
            <a:fld id="{27258FFF-F925-446B-8502-81C933981705}" type="slidenum">
              <a:rPr lang="en-US" smtClean="0">
                <a:solidFill>
                  <a:srgbClr val="505050"/>
                </a:solidFill>
              </a:rPr>
              <a:pPr defTabSz="932384"/>
              <a:t>‹#›</a:t>
            </a:fld>
            <a:endParaRPr lang="en-US" dirty="0">
              <a:solidFill>
                <a:srgbClr val="505050"/>
              </a:solidFill>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481228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23483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2384"/>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2384"/>
            <a:fld id="{27258FFF-F925-446B-8502-81C933981705}" type="slidenum">
              <a:rPr lang="en-US" smtClean="0">
                <a:solidFill>
                  <a:srgbClr val="505050"/>
                </a:solidFill>
              </a:rPr>
              <a:pPr defTabSz="932384"/>
              <a:t>‹#›</a:t>
            </a:fld>
            <a:endParaRPr lang="en-US" dirty="0">
              <a:solidFill>
                <a:srgbClr val="505050"/>
              </a:solidFill>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318633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41064" cy="137160"/>
          </a:xfrm>
          <a:prstGeom prst="rect">
            <a:avLst/>
          </a:prstGeom>
        </p:spPr>
        <p:txBody>
          <a:bodyPr/>
          <a:lstStyle>
            <a:lvl1pPr>
              <a:defRPr>
                <a:solidFill>
                  <a:schemeClr val="tx2"/>
                </a:solidFill>
              </a:defRPr>
            </a:lvl1pPr>
          </a:lstStyle>
          <a:p>
            <a:pPr defTabSz="932384"/>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594594" y="6565392"/>
            <a:ext cx="566928" cy="137160"/>
          </a:xfrm>
          <a:prstGeom prst="rect">
            <a:avLst/>
          </a:prstGeom>
        </p:spPr>
        <p:txBody>
          <a:bodyPr/>
          <a:lstStyle>
            <a:lvl1pPr>
              <a:defRPr>
                <a:solidFill>
                  <a:schemeClr val="tx2"/>
                </a:solidFill>
              </a:defRPr>
            </a:lvl1pPr>
          </a:lstStyle>
          <a:p>
            <a:pPr defTabSz="932384"/>
            <a:fld id="{27258FFF-F925-446B-8502-81C933981705}" type="slidenum">
              <a:rPr lang="en-US" smtClean="0">
                <a:solidFill>
                  <a:srgbClr val="505050"/>
                </a:solidFill>
              </a:rPr>
              <a:pPr defTabSz="932384"/>
              <a:t>‹#›</a:t>
            </a:fld>
            <a:endParaRPr lang="en-US" dirty="0">
              <a:solidFill>
                <a:srgbClr val="505050"/>
              </a:solidFill>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4232049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Content spli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9291" y="522017"/>
            <a:ext cx="5668033" cy="2244707"/>
          </a:xfrm>
        </p:spPr>
        <p:txBody>
          <a:bodyPr>
            <a:noAutofit/>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defTabSz="951121"/>
            <a:endParaRPr lang="en-US" sz="1071" kern="0">
              <a:solidFill>
                <a:srgbClr val="333333"/>
              </a:solidFill>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defTabSz="951121">
              <a:defRPr/>
            </a:pPr>
            <a:endParaRPr lang="en-US" sz="1071" kern="0" dirty="0">
              <a:solidFill>
                <a:srgbClr val="333333"/>
              </a:solidFill>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a:defRPr/>
            </a:pPr>
            <a:endParaRPr lang="en-US" sz="2448" kern="0">
              <a:solidFill>
                <a:srgbClr val="FFFFFF"/>
              </a:solidFill>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a:defRPr/>
            </a:pPr>
            <a:endParaRPr lang="en-US" sz="2448" kern="0">
              <a:solidFill>
                <a:srgbClr val="FFFFFF"/>
              </a:solidFill>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cxnSp>
        <p:nvCxnSpPr>
          <p:cNvPr id="39" name="Straight Connector 38"/>
          <p:cNvCxnSpPr/>
          <p:nvPr userDrawn="1"/>
        </p:nvCxnSpPr>
        <p:spPr>
          <a:xfrm>
            <a:off x="6431929" y="364932"/>
            <a:ext cx="0" cy="5799461"/>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6746536" y="951674"/>
            <a:ext cx="5348676" cy="1516155"/>
          </a:xfrm>
        </p:spPr>
        <p:txBody>
          <a:bodyPr/>
          <a:lstStyle>
            <a:lvl1pPr>
              <a:buClr>
                <a:schemeClr val="accent1"/>
              </a:buClr>
              <a:defRPr sz="2856">
                <a:solidFill>
                  <a:schemeClr val="bg2"/>
                </a:solidFill>
              </a:defRPr>
            </a:lvl1pPr>
            <a:lvl2pPr>
              <a:buClr>
                <a:schemeClr val="accent1"/>
              </a:buClr>
              <a:defRPr sz="1632">
                <a:solidFill>
                  <a:schemeClr val="bg2"/>
                </a:solidFill>
              </a:defRPr>
            </a:lvl2pPr>
            <a:lvl3pPr>
              <a:buClr>
                <a:schemeClr val="accent1"/>
              </a:buClr>
              <a:defRPr sz="1428">
                <a:solidFill>
                  <a:schemeClr val="bg2"/>
                </a:solidFill>
              </a:defRPr>
            </a:lvl3pPr>
            <a:lvl4pPr>
              <a:buClr>
                <a:schemeClr val="accent1"/>
              </a:buClr>
              <a:defRPr sz="1224">
                <a:solidFill>
                  <a:schemeClr val="bg2"/>
                </a:solidFill>
              </a:defRPr>
            </a:lvl4pPr>
            <a:lvl5pPr>
              <a:buClr>
                <a:schemeClr val="accent1"/>
              </a:buClr>
              <a:defRPr sz="1224">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940346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7225" y="295275"/>
            <a:ext cx="11889564" cy="917575"/>
          </a:xfrm>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8253797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5/14/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006127910"/>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8.xml"/><Relationship Id="rId20" Type="http://schemas.openxmlformats.org/officeDocument/2006/relationships/theme" Target="../theme/theme10.xml"/><Relationship Id="rId10" Type="http://schemas.openxmlformats.org/officeDocument/2006/relationships/slideLayout" Target="../slideLayouts/slideLayout189.xml"/><Relationship Id="rId11" Type="http://schemas.openxmlformats.org/officeDocument/2006/relationships/slideLayout" Target="../slideLayouts/slideLayout190.xml"/><Relationship Id="rId12" Type="http://schemas.openxmlformats.org/officeDocument/2006/relationships/slideLayout" Target="../slideLayouts/slideLayout191.xml"/><Relationship Id="rId13" Type="http://schemas.openxmlformats.org/officeDocument/2006/relationships/slideLayout" Target="../slideLayouts/slideLayout192.xml"/><Relationship Id="rId14" Type="http://schemas.openxmlformats.org/officeDocument/2006/relationships/slideLayout" Target="../slideLayouts/slideLayout193.xml"/><Relationship Id="rId15" Type="http://schemas.openxmlformats.org/officeDocument/2006/relationships/slideLayout" Target="../slideLayouts/slideLayout194.xml"/><Relationship Id="rId16" Type="http://schemas.openxmlformats.org/officeDocument/2006/relationships/slideLayout" Target="../slideLayouts/slideLayout195.xml"/><Relationship Id="rId17" Type="http://schemas.openxmlformats.org/officeDocument/2006/relationships/slideLayout" Target="../slideLayouts/slideLayout196.xml"/><Relationship Id="rId18" Type="http://schemas.openxmlformats.org/officeDocument/2006/relationships/slideLayout" Target="../slideLayouts/slideLayout197.xml"/><Relationship Id="rId19" Type="http://schemas.openxmlformats.org/officeDocument/2006/relationships/slideLayout" Target="../slideLayouts/slideLayout198.xml"/><Relationship Id="rId1" Type="http://schemas.openxmlformats.org/officeDocument/2006/relationships/slideLayout" Target="../slideLayouts/slideLayout180.xml"/><Relationship Id="rId2" Type="http://schemas.openxmlformats.org/officeDocument/2006/relationships/slideLayout" Target="../slideLayouts/slideLayout181.xml"/><Relationship Id="rId3" Type="http://schemas.openxmlformats.org/officeDocument/2006/relationships/slideLayout" Target="../slideLayouts/slideLayout182.xml"/><Relationship Id="rId4" Type="http://schemas.openxmlformats.org/officeDocument/2006/relationships/slideLayout" Target="../slideLayouts/slideLayout183.xml"/><Relationship Id="rId5" Type="http://schemas.openxmlformats.org/officeDocument/2006/relationships/slideLayout" Target="../slideLayouts/slideLayout184.xml"/><Relationship Id="rId6" Type="http://schemas.openxmlformats.org/officeDocument/2006/relationships/slideLayout" Target="../slideLayouts/slideLayout185.xml"/><Relationship Id="rId7" Type="http://schemas.openxmlformats.org/officeDocument/2006/relationships/slideLayout" Target="../slideLayouts/slideLayout186.xml"/><Relationship Id="rId8" Type="http://schemas.openxmlformats.org/officeDocument/2006/relationships/slideLayout" Target="../slideLayouts/slideLayout187.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7.xml"/><Relationship Id="rId20" Type="http://schemas.openxmlformats.org/officeDocument/2006/relationships/theme" Target="../theme/theme11.xml"/><Relationship Id="rId10" Type="http://schemas.openxmlformats.org/officeDocument/2006/relationships/slideLayout" Target="../slideLayouts/slideLayout208.xml"/><Relationship Id="rId11" Type="http://schemas.openxmlformats.org/officeDocument/2006/relationships/slideLayout" Target="../slideLayouts/slideLayout209.xml"/><Relationship Id="rId12" Type="http://schemas.openxmlformats.org/officeDocument/2006/relationships/slideLayout" Target="../slideLayouts/slideLayout210.xml"/><Relationship Id="rId13" Type="http://schemas.openxmlformats.org/officeDocument/2006/relationships/slideLayout" Target="../slideLayouts/slideLayout211.xml"/><Relationship Id="rId14" Type="http://schemas.openxmlformats.org/officeDocument/2006/relationships/slideLayout" Target="../slideLayouts/slideLayout212.xml"/><Relationship Id="rId15" Type="http://schemas.openxmlformats.org/officeDocument/2006/relationships/slideLayout" Target="../slideLayouts/slideLayout213.xml"/><Relationship Id="rId16" Type="http://schemas.openxmlformats.org/officeDocument/2006/relationships/slideLayout" Target="../slideLayouts/slideLayout214.xml"/><Relationship Id="rId17" Type="http://schemas.openxmlformats.org/officeDocument/2006/relationships/slideLayout" Target="../slideLayouts/slideLayout215.xml"/><Relationship Id="rId18" Type="http://schemas.openxmlformats.org/officeDocument/2006/relationships/slideLayout" Target="../slideLayouts/slideLayout216.xml"/><Relationship Id="rId19" Type="http://schemas.openxmlformats.org/officeDocument/2006/relationships/slideLayout" Target="../slideLayouts/slideLayout217.xml"/><Relationship Id="rId1" Type="http://schemas.openxmlformats.org/officeDocument/2006/relationships/slideLayout" Target="../slideLayouts/slideLayout199.xml"/><Relationship Id="rId2" Type="http://schemas.openxmlformats.org/officeDocument/2006/relationships/slideLayout" Target="../slideLayouts/slideLayout200.xml"/><Relationship Id="rId3" Type="http://schemas.openxmlformats.org/officeDocument/2006/relationships/slideLayout" Target="../slideLayouts/slideLayout201.xml"/><Relationship Id="rId4" Type="http://schemas.openxmlformats.org/officeDocument/2006/relationships/slideLayout" Target="../slideLayouts/slideLayout202.xml"/><Relationship Id="rId5" Type="http://schemas.openxmlformats.org/officeDocument/2006/relationships/slideLayout" Target="../slideLayouts/slideLayout203.xml"/><Relationship Id="rId6" Type="http://schemas.openxmlformats.org/officeDocument/2006/relationships/slideLayout" Target="../slideLayouts/slideLayout204.xml"/><Relationship Id="rId7" Type="http://schemas.openxmlformats.org/officeDocument/2006/relationships/slideLayout" Target="../slideLayouts/slideLayout205.xml"/><Relationship Id="rId8" Type="http://schemas.openxmlformats.org/officeDocument/2006/relationships/slideLayout" Target="../slideLayouts/slideLayout206.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6.xml"/><Relationship Id="rId20" Type="http://schemas.openxmlformats.org/officeDocument/2006/relationships/theme" Target="../theme/theme12.xml"/><Relationship Id="rId10" Type="http://schemas.openxmlformats.org/officeDocument/2006/relationships/slideLayout" Target="../slideLayouts/slideLayout227.xml"/><Relationship Id="rId11" Type="http://schemas.openxmlformats.org/officeDocument/2006/relationships/slideLayout" Target="../slideLayouts/slideLayout228.xml"/><Relationship Id="rId12" Type="http://schemas.openxmlformats.org/officeDocument/2006/relationships/slideLayout" Target="../slideLayouts/slideLayout229.xml"/><Relationship Id="rId13" Type="http://schemas.openxmlformats.org/officeDocument/2006/relationships/slideLayout" Target="../slideLayouts/slideLayout230.xml"/><Relationship Id="rId14" Type="http://schemas.openxmlformats.org/officeDocument/2006/relationships/slideLayout" Target="../slideLayouts/slideLayout231.xml"/><Relationship Id="rId15" Type="http://schemas.openxmlformats.org/officeDocument/2006/relationships/slideLayout" Target="../slideLayouts/slideLayout232.xml"/><Relationship Id="rId16" Type="http://schemas.openxmlformats.org/officeDocument/2006/relationships/slideLayout" Target="../slideLayouts/slideLayout233.xml"/><Relationship Id="rId17" Type="http://schemas.openxmlformats.org/officeDocument/2006/relationships/slideLayout" Target="../slideLayouts/slideLayout234.xml"/><Relationship Id="rId18" Type="http://schemas.openxmlformats.org/officeDocument/2006/relationships/slideLayout" Target="../slideLayouts/slideLayout235.xml"/><Relationship Id="rId19" Type="http://schemas.openxmlformats.org/officeDocument/2006/relationships/slideLayout" Target="../slideLayouts/slideLayout236.xml"/><Relationship Id="rId1" Type="http://schemas.openxmlformats.org/officeDocument/2006/relationships/slideLayout" Target="../slideLayouts/slideLayout218.xml"/><Relationship Id="rId2" Type="http://schemas.openxmlformats.org/officeDocument/2006/relationships/slideLayout" Target="../slideLayouts/slideLayout219.xml"/><Relationship Id="rId3" Type="http://schemas.openxmlformats.org/officeDocument/2006/relationships/slideLayout" Target="../slideLayouts/slideLayout220.xml"/><Relationship Id="rId4" Type="http://schemas.openxmlformats.org/officeDocument/2006/relationships/slideLayout" Target="../slideLayouts/slideLayout221.xml"/><Relationship Id="rId5" Type="http://schemas.openxmlformats.org/officeDocument/2006/relationships/slideLayout" Target="../slideLayouts/slideLayout222.xml"/><Relationship Id="rId6" Type="http://schemas.openxmlformats.org/officeDocument/2006/relationships/slideLayout" Target="../slideLayouts/slideLayout223.xml"/><Relationship Id="rId7" Type="http://schemas.openxmlformats.org/officeDocument/2006/relationships/slideLayout" Target="../slideLayouts/slideLayout224.xml"/><Relationship Id="rId8" Type="http://schemas.openxmlformats.org/officeDocument/2006/relationships/slideLayout" Target="../slideLayouts/slideLayout225.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45.xml"/><Relationship Id="rId20" Type="http://schemas.openxmlformats.org/officeDocument/2006/relationships/slideLayout" Target="../slideLayouts/slideLayout256.xml"/><Relationship Id="rId21" Type="http://schemas.openxmlformats.org/officeDocument/2006/relationships/slideLayout" Target="../slideLayouts/slideLayout257.xml"/><Relationship Id="rId22" Type="http://schemas.openxmlformats.org/officeDocument/2006/relationships/slideLayout" Target="../slideLayouts/slideLayout258.xml"/><Relationship Id="rId23" Type="http://schemas.openxmlformats.org/officeDocument/2006/relationships/slideLayout" Target="../slideLayouts/slideLayout259.xml"/><Relationship Id="rId24" Type="http://schemas.openxmlformats.org/officeDocument/2006/relationships/slideLayout" Target="../slideLayouts/slideLayout260.xml"/><Relationship Id="rId25" Type="http://schemas.openxmlformats.org/officeDocument/2006/relationships/slideLayout" Target="../slideLayouts/slideLayout261.xml"/><Relationship Id="rId26" Type="http://schemas.openxmlformats.org/officeDocument/2006/relationships/slideLayout" Target="../slideLayouts/slideLayout262.xml"/><Relationship Id="rId27" Type="http://schemas.openxmlformats.org/officeDocument/2006/relationships/slideLayout" Target="../slideLayouts/slideLayout263.xml"/><Relationship Id="rId28" Type="http://schemas.openxmlformats.org/officeDocument/2006/relationships/slideLayout" Target="../slideLayouts/slideLayout264.xml"/><Relationship Id="rId29" Type="http://schemas.openxmlformats.org/officeDocument/2006/relationships/theme" Target="../theme/theme13.xml"/><Relationship Id="rId10" Type="http://schemas.openxmlformats.org/officeDocument/2006/relationships/slideLayout" Target="../slideLayouts/slideLayout246.xml"/><Relationship Id="rId11" Type="http://schemas.openxmlformats.org/officeDocument/2006/relationships/slideLayout" Target="../slideLayouts/slideLayout247.xml"/><Relationship Id="rId12" Type="http://schemas.openxmlformats.org/officeDocument/2006/relationships/slideLayout" Target="../slideLayouts/slideLayout248.xml"/><Relationship Id="rId13" Type="http://schemas.openxmlformats.org/officeDocument/2006/relationships/slideLayout" Target="../slideLayouts/slideLayout249.xml"/><Relationship Id="rId14" Type="http://schemas.openxmlformats.org/officeDocument/2006/relationships/slideLayout" Target="../slideLayouts/slideLayout250.xml"/><Relationship Id="rId15" Type="http://schemas.openxmlformats.org/officeDocument/2006/relationships/slideLayout" Target="../slideLayouts/slideLayout251.xml"/><Relationship Id="rId16" Type="http://schemas.openxmlformats.org/officeDocument/2006/relationships/slideLayout" Target="../slideLayouts/slideLayout252.xml"/><Relationship Id="rId17" Type="http://schemas.openxmlformats.org/officeDocument/2006/relationships/slideLayout" Target="../slideLayouts/slideLayout253.xml"/><Relationship Id="rId18" Type="http://schemas.openxmlformats.org/officeDocument/2006/relationships/slideLayout" Target="../slideLayouts/slideLayout254.xml"/><Relationship Id="rId19" Type="http://schemas.openxmlformats.org/officeDocument/2006/relationships/slideLayout" Target="../slideLayouts/slideLayout255.xml"/><Relationship Id="rId1" Type="http://schemas.openxmlformats.org/officeDocument/2006/relationships/slideLayout" Target="../slideLayouts/slideLayout237.xml"/><Relationship Id="rId2" Type="http://schemas.openxmlformats.org/officeDocument/2006/relationships/slideLayout" Target="../slideLayouts/slideLayout238.xml"/><Relationship Id="rId3" Type="http://schemas.openxmlformats.org/officeDocument/2006/relationships/slideLayout" Target="../slideLayouts/slideLayout239.xml"/><Relationship Id="rId4" Type="http://schemas.openxmlformats.org/officeDocument/2006/relationships/slideLayout" Target="../slideLayouts/slideLayout240.xml"/><Relationship Id="rId5" Type="http://schemas.openxmlformats.org/officeDocument/2006/relationships/slideLayout" Target="../slideLayouts/slideLayout241.xml"/><Relationship Id="rId6" Type="http://schemas.openxmlformats.org/officeDocument/2006/relationships/slideLayout" Target="../slideLayouts/slideLayout242.xml"/><Relationship Id="rId7" Type="http://schemas.openxmlformats.org/officeDocument/2006/relationships/slideLayout" Target="../slideLayouts/slideLayout243.xml"/><Relationship Id="rId8" Type="http://schemas.openxmlformats.org/officeDocument/2006/relationships/slideLayout" Target="../slideLayouts/slideLayout244.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273.xml"/><Relationship Id="rId20" Type="http://schemas.openxmlformats.org/officeDocument/2006/relationships/slideLayout" Target="../slideLayouts/slideLayout284.xml"/><Relationship Id="rId21" Type="http://schemas.openxmlformats.org/officeDocument/2006/relationships/slideLayout" Target="../slideLayouts/slideLayout285.xml"/><Relationship Id="rId22" Type="http://schemas.openxmlformats.org/officeDocument/2006/relationships/slideLayout" Target="../slideLayouts/slideLayout286.xml"/><Relationship Id="rId23" Type="http://schemas.openxmlformats.org/officeDocument/2006/relationships/slideLayout" Target="../slideLayouts/slideLayout287.xml"/><Relationship Id="rId24" Type="http://schemas.openxmlformats.org/officeDocument/2006/relationships/slideLayout" Target="../slideLayouts/slideLayout288.xml"/><Relationship Id="rId25" Type="http://schemas.openxmlformats.org/officeDocument/2006/relationships/slideLayout" Target="../slideLayouts/slideLayout289.xml"/><Relationship Id="rId26" Type="http://schemas.openxmlformats.org/officeDocument/2006/relationships/theme" Target="../theme/theme14.xml"/><Relationship Id="rId10" Type="http://schemas.openxmlformats.org/officeDocument/2006/relationships/slideLayout" Target="../slideLayouts/slideLayout274.xml"/><Relationship Id="rId11" Type="http://schemas.openxmlformats.org/officeDocument/2006/relationships/slideLayout" Target="../slideLayouts/slideLayout275.xml"/><Relationship Id="rId12" Type="http://schemas.openxmlformats.org/officeDocument/2006/relationships/slideLayout" Target="../slideLayouts/slideLayout276.xml"/><Relationship Id="rId13" Type="http://schemas.openxmlformats.org/officeDocument/2006/relationships/slideLayout" Target="../slideLayouts/slideLayout277.xml"/><Relationship Id="rId14" Type="http://schemas.openxmlformats.org/officeDocument/2006/relationships/slideLayout" Target="../slideLayouts/slideLayout278.xml"/><Relationship Id="rId15" Type="http://schemas.openxmlformats.org/officeDocument/2006/relationships/slideLayout" Target="../slideLayouts/slideLayout279.xml"/><Relationship Id="rId16" Type="http://schemas.openxmlformats.org/officeDocument/2006/relationships/slideLayout" Target="../slideLayouts/slideLayout280.xml"/><Relationship Id="rId17" Type="http://schemas.openxmlformats.org/officeDocument/2006/relationships/slideLayout" Target="../slideLayouts/slideLayout281.xml"/><Relationship Id="rId18" Type="http://schemas.openxmlformats.org/officeDocument/2006/relationships/slideLayout" Target="../slideLayouts/slideLayout282.xml"/><Relationship Id="rId19" Type="http://schemas.openxmlformats.org/officeDocument/2006/relationships/slideLayout" Target="../slideLayouts/slideLayout283.xml"/><Relationship Id="rId1" Type="http://schemas.openxmlformats.org/officeDocument/2006/relationships/slideLayout" Target="../slideLayouts/slideLayout265.xml"/><Relationship Id="rId2" Type="http://schemas.openxmlformats.org/officeDocument/2006/relationships/slideLayout" Target="../slideLayouts/slideLayout266.xml"/><Relationship Id="rId3" Type="http://schemas.openxmlformats.org/officeDocument/2006/relationships/slideLayout" Target="../slideLayouts/slideLayout267.xml"/><Relationship Id="rId4" Type="http://schemas.openxmlformats.org/officeDocument/2006/relationships/slideLayout" Target="../slideLayouts/slideLayout268.xml"/><Relationship Id="rId5" Type="http://schemas.openxmlformats.org/officeDocument/2006/relationships/slideLayout" Target="../slideLayouts/slideLayout269.xml"/><Relationship Id="rId6" Type="http://schemas.openxmlformats.org/officeDocument/2006/relationships/slideLayout" Target="../slideLayouts/slideLayout270.xml"/><Relationship Id="rId7" Type="http://schemas.openxmlformats.org/officeDocument/2006/relationships/slideLayout" Target="../slideLayouts/slideLayout271.xml"/><Relationship Id="rId8" Type="http://schemas.openxmlformats.org/officeDocument/2006/relationships/slideLayout" Target="../slideLayouts/slideLayout272.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98.xml"/><Relationship Id="rId20" Type="http://schemas.openxmlformats.org/officeDocument/2006/relationships/slideLayout" Target="../slideLayouts/slideLayout309.xml"/><Relationship Id="rId21" Type="http://schemas.openxmlformats.org/officeDocument/2006/relationships/slideLayout" Target="../slideLayouts/slideLayout310.xml"/><Relationship Id="rId22" Type="http://schemas.openxmlformats.org/officeDocument/2006/relationships/slideLayout" Target="../slideLayouts/slideLayout311.xml"/><Relationship Id="rId23" Type="http://schemas.openxmlformats.org/officeDocument/2006/relationships/slideLayout" Target="../slideLayouts/slideLayout312.xml"/><Relationship Id="rId24" Type="http://schemas.openxmlformats.org/officeDocument/2006/relationships/slideLayout" Target="../slideLayouts/slideLayout313.xml"/><Relationship Id="rId25" Type="http://schemas.openxmlformats.org/officeDocument/2006/relationships/slideLayout" Target="../slideLayouts/slideLayout314.xml"/><Relationship Id="rId26" Type="http://schemas.openxmlformats.org/officeDocument/2006/relationships/theme" Target="../theme/theme15.xml"/><Relationship Id="rId27" Type="http://schemas.openxmlformats.org/officeDocument/2006/relationships/image" Target="../media/image11.png"/><Relationship Id="rId10" Type="http://schemas.openxmlformats.org/officeDocument/2006/relationships/slideLayout" Target="../slideLayouts/slideLayout299.xml"/><Relationship Id="rId11" Type="http://schemas.openxmlformats.org/officeDocument/2006/relationships/slideLayout" Target="../slideLayouts/slideLayout300.xml"/><Relationship Id="rId12" Type="http://schemas.openxmlformats.org/officeDocument/2006/relationships/slideLayout" Target="../slideLayouts/slideLayout301.xml"/><Relationship Id="rId13" Type="http://schemas.openxmlformats.org/officeDocument/2006/relationships/slideLayout" Target="../slideLayouts/slideLayout302.xml"/><Relationship Id="rId14" Type="http://schemas.openxmlformats.org/officeDocument/2006/relationships/slideLayout" Target="../slideLayouts/slideLayout303.xml"/><Relationship Id="rId15" Type="http://schemas.openxmlformats.org/officeDocument/2006/relationships/slideLayout" Target="../slideLayouts/slideLayout304.xml"/><Relationship Id="rId16" Type="http://schemas.openxmlformats.org/officeDocument/2006/relationships/slideLayout" Target="../slideLayouts/slideLayout305.xml"/><Relationship Id="rId17" Type="http://schemas.openxmlformats.org/officeDocument/2006/relationships/slideLayout" Target="../slideLayouts/slideLayout306.xml"/><Relationship Id="rId18" Type="http://schemas.openxmlformats.org/officeDocument/2006/relationships/slideLayout" Target="../slideLayouts/slideLayout307.xml"/><Relationship Id="rId19" Type="http://schemas.openxmlformats.org/officeDocument/2006/relationships/slideLayout" Target="../slideLayouts/slideLayout308.xml"/><Relationship Id="rId1" Type="http://schemas.openxmlformats.org/officeDocument/2006/relationships/slideLayout" Target="../slideLayouts/slideLayout290.xml"/><Relationship Id="rId2" Type="http://schemas.openxmlformats.org/officeDocument/2006/relationships/slideLayout" Target="../slideLayouts/slideLayout291.xml"/><Relationship Id="rId3" Type="http://schemas.openxmlformats.org/officeDocument/2006/relationships/slideLayout" Target="../slideLayouts/slideLayout292.xml"/><Relationship Id="rId4" Type="http://schemas.openxmlformats.org/officeDocument/2006/relationships/slideLayout" Target="../slideLayouts/slideLayout293.xml"/><Relationship Id="rId5" Type="http://schemas.openxmlformats.org/officeDocument/2006/relationships/slideLayout" Target="../slideLayouts/slideLayout294.xml"/><Relationship Id="rId6" Type="http://schemas.openxmlformats.org/officeDocument/2006/relationships/slideLayout" Target="../slideLayouts/slideLayout295.xml"/><Relationship Id="rId7" Type="http://schemas.openxmlformats.org/officeDocument/2006/relationships/slideLayout" Target="../slideLayouts/slideLayout296.xml"/><Relationship Id="rId8" Type="http://schemas.openxmlformats.org/officeDocument/2006/relationships/slideLayout" Target="../slideLayouts/slideLayout297.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323.xml"/><Relationship Id="rId20" Type="http://schemas.openxmlformats.org/officeDocument/2006/relationships/slideLayout" Target="../slideLayouts/slideLayout334.xml"/><Relationship Id="rId21" Type="http://schemas.openxmlformats.org/officeDocument/2006/relationships/slideLayout" Target="../slideLayouts/slideLayout335.xml"/><Relationship Id="rId22" Type="http://schemas.openxmlformats.org/officeDocument/2006/relationships/slideLayout" Target="../slideLayouts/slideLayout336.xml"/><Relationship Id="rId23" Type="http://schemas.openxmlformats.org/officeDocument/2006/relationships/slideLayout" Target="../slideLayouts/slideLayout337.xml"/><Relationship Id="rId24" Type="http://schemas.openxmlformats.org/officeDocument/2006/relationships/theme" Target="../theme/theme16.xml"/><Relationship Id="rId25" Type="http://schemas.openxmlformats.org/officeDocument/2006/relationships/image" Target="../media/image11.png"/><Relationship Id="rId10" Type="http://schemas.openxmlformats.org/officeDocument/2006/relationships/slideLayout" Target="../slideLayouts/slideLayout324.xml"/><Relationship Id="rId11" Type="http://schemas.openxmlformats.org/officeDocument/2006/relationships/slideLayout" Target="../slideLayouts/slideLayout325.xml"/><Relationship Id="rId12" Type="http://schemas.openxmlformats.org/officeDocument/2006/relationships/slideLayout" Target="../slideLayouts/slideLayout326.xml"/><Relationship Id="rId13" Type="http://schemas.openxmlformats.org/officeDocument/2006/relationships/slideLayout" Target="../slideLayouts/slideLayout327.xml"/><Relationship Id="rId14" Type="http://schemas.openxmlformats.org/officeDocument/2006/relationships/slideLayout" Target="../slideLayouts/slideLayout328.xml"/><Relationship Id="rId15" Type="http://schemas.openxmlformats.org/officeDocument/2006/relationships/slideLayout" Target="../slideLayouts/slideLayout329.xml"/><Relationship Id="rId16" Type="http://schemas.openxmlformats.org/officeDocument/2006/relationships/slideLayout" Target="../slideLayouts/slideLayout330.xml"/><Relationship Id="rId17" Type="http://schemas.openxmlformats.org/officeDocument/2006/relationships/slideLayout" Target="../slideLayouts/slideLayout331.xml"/><Relationship Id="rId18" Type="http://schemas.openxmlformats.org/officeDocument/2006/relationships/slideLayout" Target="../slideLayouts/slideLayout332.xml"/><Relationship Id="rId19" Type="http://schemas.openxmlformats.org/officeDocument/2006/relationships/slideLayout" Target="../slideLayouts/slideLayout333.xml"/><Relationship Id="rId1" Type="http://schemas.openxmlformats.org/officeDocument/2006/relationships/slideLayout" Target="../slideLayouts/slideLayout315.xml"/><Relationship Id="rId2" Type="http://schemas.openxmlformats.org/officeDocument/2006/relationships/slideLayout" Target="../slideLayouts/slideLayout316.xml"/><Relationship Id="rId3" Type="http://schemas.openxmlformats.org/officeDocument/2006/relationships/slideLayout" Target="../slideLayouts/slideLayout317.xml"/><Relationship Id="rId4" Type="http://schemas.openxmlformats.org/officeDocument/2006/relationships/slideLayout" Target="../slideLayouts/slideLayout318.xml"/><Relationship Id="rId5" Type="http://schemas.openxmlformats.org/officeDocument/2006/relationships/slideLayout" Target="../slideLayouts/slideLayout319.xml"/><Relationship Id="rId6" Type="http://schemas.openxmlformats.org/officeDocument/2006/relationships/slideLayout" Target="../slideLayouts/slideLayout320.xml"/><Relationship Id="rId7" Type="http://schemas.openxmlformats.org/officeDocument/2006/relationships/slideLayout" Target="../slideLayouts/slideLayout321.xml"/><Relationship Id="rId8" Type="http://schemas.openxmlformats.org/officeDocument/2006/relationships/slideLayout" Target="../slideLayouts/slideLayout322.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46.xml"/><Relationship Id="rId20" Type="http://schemas.openxmlformats.org/officeDocument/2006/relationships/slideLayout" Target="../slideLayouts/slideLayout357.xml"/><Relationship Id="rId21" Type="http://schemas.openxmlformats.org/officeDocument/2006/relationships/slideLayout" Target="../slideLayouts/slideLayout358.xml"/><Relationship Id="rId22" Type="http://schemas.openxmlformats.org/officeDocument/2006/relationships/slideLayout" Target="../slideLayouts/slideLayout359.xml"/><Relationship Id="rId23" Type="http://schemas.openxmlformats.org/officeDocument/2006/relationships/slideLayout" Target="../slideLayouts/slideLayout360.xml"/><Relationship Id="rId24" Type="http://schemas.openxmlformats.org/officeDocument/2006/relationships/slideLayout" Target="../slideLayouts/slideLayout361.xml"/><Relationship Id="rId25" Type="http://schemas.openxmlformats.org/officeDocument/2006/relationships/slideLayout" Target="../slideLayouts/slideLayout362.xml"/><Relationship Id="rId26" Type="http://schemas.openxmlformats.org/officeDocument/2006/relationships/theme" Target="../theme/theme17.xml"/><Relationship Id="rId27" Type="http://schemas.openxmlformats.org/officeDocument/2006/relationships/image" Target="../media/image19.png"/><Relationship Id="rId10" Type="http://schemas.openxmlformats.org/officeDocument/2006/relationships/slideLayout" Target="../slideLayouts/slideLayout347.xml"/><Relationship Id="rId11" Type="http://schemas.openxmlformats.org/officeDocument/2006/relationships/slideLayout" Target="../slideLayouts/slideLayout348.xml"/><Relationship Id="rId12" Type="http://schemas.openxmlformats.org/officeDocument/2006/relationships/slideLayout" Target="../slideLayouts/slideLayout349.xml"/><Relationship Id="rId13" Type="http://schemas.openxmlformats.org/officeDocument/2006/relationships/slideLayout" Target="../slideLayouts/slideLayout350.xml"/><Relationship Id="rId14" Type="http://schemas.openxmlformats.org/officeDocument/2006/relationships/slideLayout" Target="../slideLayouts/slideLayout351.xml"/><Relationship Id="rId15" Type="http://schemas.openxmlformats.org/officeDocument/2006/relationships/slideLayout" Target="../slideLayouts/slideLayout352.xml"/><Relationship Id="rId16" Type="http://schemas.openxmlformats.org/officeDocument/2006/relationships/slideLayout" Target="../slideLayouts/slideLayout353.xml"/><Relationship Id="rId17" Type="http://schemas.openxmlformats.org/officeDocument/2006/relationships/slideLayout" Target="../slideLayouts/slideLayout354.xml"/><Relationship Id="rId18" Type="http://schemas.openxmlformats.org/officeDocument/2006/relationships/slideLayout" Target="../slideLayouts/slideLayout355.xml"/><Relationship Id="rId19" Type="http://schemas.openxmlformats.org/officeDocument/2006/relationships/slideLayout" Target="../slideLayouts/slideLayout356.xml"/><Relationship Id="rId1" Type="http://schemas.openxmlformats.org/officeDocument/2006/relationships/slideLayout" Target="../slideLayouts/slideLayout338.xml"/><Relationship Id="rId2" Type="http://schemas.openxmlformats.org/officeDocument/2006/relationships/slideLayout" Target="../slideLayouts/slideLayout339.xml"/><Relationship Id="rId3" Type="http://schemas.openxmlformats.org/officeDocument/2006/relationships/slideLayout" Target="../slideLayouts/slideLayout340.xml"/><Relationship Id="rId4" Type="http://schemas.openxmlformats.org/officeDocument/2006/relationships/slideLayout" Target="../slideLayouts/slideLayout341.xml"/><Relationship Id="rId5" Type="http://schemas.openxmlformats.org/officeDocument/2006/relationships/slideLayout" Target="../slideLayouts/slideLayout342.xml"/><Relationship Id="rId6" Type="http://schemas.openxmlformats.org/officeDocument/2006/relationships/slideLayout" Target="../slideLayouts/slideLayout343.xml"/><Relationship Id="rId7" Type="http://schemas.openxmlformats.org/officeDocument/2006/relationships/slideLayout" Target="../slideLayouts/slideLayout344.xml"/><Relationship Id="rId8" Type="http://schemas.openxmlformats.org/officeDocument/2006/relationships/slideLayout" Target="../slideLayouts/slideLayout345.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slideLayout" Target="../slideLayouts/slideLayout136.xml"/><Relationship Id="rId22"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5.xml"/><Relationship Id="rId20" Type="http://schemas.openxmlformats.org/officeDocument/2006/relationships/theme" Target="../theme/theme8.xml"/><Relationship Id="rId10" Type="http://schemas.openxmlformats.org/officeDocument/2006/relationships/slideLayout" Target="../slideLayouts/slideLayout146.xml"/><Relationship Id="rId11" Type="http://schemas.openxmlformats.org/officeDocument/2006/relationships/slideLayout" Target="../slideLayouts/slideLayout147.xml"/><Relationship Id="rId12" Type="http://schemas.openxmlformats.org/officeDocument/2006/relationships/slideLayout" Target="../slideLayouts/slideLayout148.xml"/><Relationship Id="rId13" Type="http://schemas.openxmlformats.org/officeDocument/2006/relationships/slideLayout" Target="../slideLayouts/slideLayout149.xml"/><Relationship Id="rId14" Type="http://schemas.openxmlformats.org/officeDocument/2006/relationships/slideLayout" Target="../slideLayouts/slideLayout150.xml"/><Relationship Id="rId15" Type="http://schemas.openxmlformats.org/officeDocument/2006/relationships/slideLayout" Target="../slideLayouts/slideLayout151.xml"/><Relationship Id="rId16" Type="http://schemas.openxmlformats.org/officeDocument/2006/relationships/slideLayout" Target="../slideLayouts/slideLayout152.xml"/><Relationship Id="rId17" Type="http://schemas.openxmlformats.org/officeDocument/2006/relationships/slideLayout" Target="../slideLayouts/slideLayout153.xml"/><Relationship Id="rId18" Type="http://schemas.openxmlformats.org/officeDocument/2006/relationships/slideLayout" Target="../slideLayouts/slideLayout154.xml"/><Relationship Id="rId19" Type="http://schemas.openxmlformats.org/officeDocument/2006/relationships/slideLayout" Target="../slideLayouts/slideLayout155.xml"/><Relationship Id="rId1" Type="http://schemas.openxmlformats.org/officeDocument/2006/relationships/slideLayout" Target="../slideLayouts/slideLayout137.xml"/><Relationship Id="rId2" Type="http://schemas.openxmlformats.org/officeDocument/2006/relationships/slideLayout" Target="../slideLayouts/slideLayout138.xml"/><Relationship Id="rId3" Type="http://schemas.openxmlformats.org/officeDocument/2006/relationships/slideLayout" Target="../slideLayouts/slideLayout139.xml"/><Relationship Id="rId4" Type="http://schemas.openxmlformats.org/officeDocument/2006/relationships/slideLayout" Target="../slideLayouts/slideLayout140.xml"/><Relationship Id="rId5" Type="http://schemas.openxmlformats.org/officeDocument/2006/relationships/slideLayout" Target="../slideLayouts/slideLayout141.xml"/><Relationship Id="rId6" Type="http://schemas.openxmlformats.org/officeDocument/2006/relationships/slideLayout" Target="../slideLayouts/slideLayout142.xml"/><Relationship Id="rId7" Type="http://schemas.openxmlformats.org/officeDocument/2006/relationships/slideLayout" Target="../slideLayouts/slideLayout143.xml"/><Relationship Id="rId8"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4.xml"/><Relationship Id="rId20" Type="http://schemas.openxmlformats.org/officeDocument/2006/relationships/slideLayout" Target="../slideLayouts/slideLayout175.xml"/><Relationship Id="rId21" Type="http://schemas.openxmlformats.org/officeDocument/2006/relationships/slideLayout" Target="../slideLayouts/slideLayout176.xml"/><Relationship Id="rId22" Type="http://schemas.openxmlformats.org/officeDocument/2006/relationships/slideLayout" Target="../slideLayouts/slideLayout177.xml"/><Relationship Id="rId23" Type="http://schemas.openxmlformats.org/officeDocument/2006/relationships/slideLayout" Target="../slideLayouts/slideLayout178.xml"/><Relationship Id="rId24" Type="http://schemas.openxmlformats.org/officeDocument/2006/relationships/slideLayout" Target="../slideLayouts/slideLayout179.xml"/><Relationship Id="rId25" Type="http://schemas.openxmlformats.org/officeDocument/2006/relationships/theme" Target="../theme/theme9.xml"/><Relationship Id="rId10" Type="http://schemas.openxmlformats.org/officeDocument/2006/relationships/slideLayout" Target="../slideLayouts/slideLayout165.xml"/><Relationship Id="rId11" Type="http://schemas.openxmlformats.org/officeDocument/2006/relationships/slideLayout" Target="../slideLayouts/slideLayout166.xml"/><Relationship Id="rId12" Type="http://schemas.openxmlformats.org/officeDocument/2006/relationships/slideLayout" Target="../slideLayouts/slideLayout167.xml"/><Relationship Id="rId13" Type="http://schemas.openxmlformats.org/officeDocument/2006/relationships/slideLayout" Target="../slideLayouts/slideLayout168.xml"/><Relationship Id="rId14" Type="http://schemas.openxmlformats.org/officeDocument/2006/relationships/slideLayout" Target="../slideLayouts/slideLayout169.xml"/><Relationship Id="rId15" Type="http://schemas.openxmlformats.org/officeDocument/2006/relationships/slideLayout" Target="../slideLayouts/slideLayout170.xml"/><Relationship Id="rId16" Type="http://schemas.openxmlformats.org/officeDocument/2006/relationships/slideLayout" Target="../slideLayouts/slideLayout171.xml"/><Relationship Id="rId17" Type="http://schemas.openxmlformats.org/officeDocument/2006/relationships/slideLayout" Target="../slideLayouts/slideLayout172.xml"/><Relationship Id="rId18" Type="http://schemas.openxmlformats.org/officeDocument/2006/relationships/slideLayout" Target="../slideLayouts/slideLayout173.xml"/><Relationship Id="rId19" Type="http://schemas.openxmlformats.org/officeDocument/2006/relationships/slideLayout" Target="../slideLayouts/slideLayout174.xml"/><Relationship Id="rId1" Type="http://schemas.openxmlformats.org/officeDocument/2006/relationships/slideLayout" Target="../slideLayouts/slideLayout156.xml"/><Relationship Id="rId2" Type="http://schemas.openxmlformats.org/officeDocument/2006/relationships/slideLayout" Target="../slideLayouts/slideLayout157.xml"/><Relationship Id="rId3" Type="http://schemas.openxmlformats.org/officeDocument/2006/relationships/slideLayout" Target="../slideLayouts/slideLayout158.xml"/><Relationship Id="rId4" Type="http://schemas.openxmlformats.org/officeDocument/2006/relationships/slideLayout" Target="../slideLayouts/slideLayout159.xml"/><Relationship Id="rId5" Type="http://schemas.openxmlformats.org/officeDocument/2006/relationships/slideLayout" Target="../slideLayouts/slideLayout160.xml"/><Relationship Id="rId6" Type="http://schemas.openxmlformats.org/officeDocument/2006/relationships/slideLayout" Target="../slideLayouts/slideLayout161.xml"/><Relationship Id="rId7" Type="http://schemas.openxmlformats.org/officeDocument/2006/relationships/slideLayout" Target="../slideLayouts/slideLayout162.xml"/><Relationship Id="rId8"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756" r:id="rId25"/>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 id="2147484757" r:id="rId2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 id="2147484751" r:id="rId20"/>
    <p:sldLayoutId id="2147484752" r:id="rId21"/>
    <p:sldLayoutId id="2147484753" r:id="rId22"/>
    <p:sldLayoutId id="2147484754" r:id="rId23"/>
    <p:sldLayoutId id="2147484755" r:id="rId24"/>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0.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8.xml"/><Relationship Id="rId2" Type="http://schemas.openxmlformats.org/officeDocument/2006/relationships/hyperlink" Target="https://docs.microsoft.com/en-gb/azure/hdinsight/hdinsight-migrate-from-windows-to-linux"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3.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48.png"/><Relationship Id="rId5" Type="http://schemas.openxmlformats.org/officeDocument/2006/relationships/image" Target="../media/image49.png"/><Relationship Id="rId6" Type="http://schemas.openxmlformats.org/officeDocument/2006/relationships/image" Target="../media/image50.png"/><Relationship Id="rId7" Type="http://schemas.openxmlformats.org/officeDocument/2006/relationships/image" Target="../media/image51.png"/><Relationship Id="rId8" Type="http://schemas.openxmlformats.org/officeDocument/2006/relationships/image" Target="../media/image52.png"/><Relationship Id="rId9" Type="http://schemas.openxmlformats.org/officeDocument/2006/relationships/image" Target="../media/image53.png"/><Relationship Id="rId1" Type="http://schemas.openxmlformats.org/officeDocument/2006/relationships/slideLayout" Target="../slideLayouts/slideLayout176.xml"/><Relationship Id="rId2"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4" Type="http://schemas.microsoft.com/office/2007/relationships/hdphoto" Target="../media/hdphoto2.wdp"/><Relationship Id="rId5" Type="http://schemas.openxmlformats.org/officeDocument/2006/relationships/image" Target="../media/image55.png"/><Relationship Id="rId1" Type="http://schemas.openxmlformats.org/officeDocument/2006/relationships/slideLayout" Target="../slideLayouts/slideLayout176.xml"/><Relationship Id="rId2"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image" Target="../media/image56.jpeg"/><Relationship Id="rId4" Type="http://schemas.openxmlformats.org/officeDocument/2006/relationships/image" Target="../media/image57.jpeg"/><Relationship Id="rId5" Type="http://schemas.openxmlformats.org/officeDocument/2006/relationships/image" Target="../media/image58.jpeg"/><Relationship Id="rId1" Type="http://schemas.openxmlformats.org/officeDocument/2006/relationships/slideLayout" Target="../slideLayouts/slideLayout176.xml"/><Relationship Id="rId2"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1" Type="http://schemas.openxmlformats.org/officeDocument/2006/relationships/slideLayout" Target="../slideLayouts/slideLayout176.xml"/><Relationship Id="rId2"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1" Type="http://schemas.openxmlformats.org/officeDocument/2006/relationships/slideLayout" Target="../slideLayouts/slideLayout177.xml"/><Relationship Id="rId2"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7.xml"/><Relationship Id="rId2"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7.xml"/><Relationship Id="rId2" Type="http://schemas.openxmlformats.org/officeDocument/2006/relationships/notesSlide" Target="../notesSlides/notesSlide2.xml"/><Relationship Id="rId3" Type="http://schemas.openxmlformats.org/officeDocument/2006/relationships/image" Target="../media/image24.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7.xml"/><Relationship Id="rId2" Type="http://schemas.openxmlformats.org/officeDocument/2006/relationships/notesSlide" Target="../notesSlides/notesSlide14.xml"/><Relationship Id="rId3" Type="http://schemas.openxmlformats.org/officeDocument/2006/relationships/image" Target="../media/image6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image" Target="../media/image64.png"/><Relationship Id="rId1" Type="http://schemas.openxmlformats.org/officeDocument/2006/relationships/tags" Target="../tags/tag1.xml"/><Relationship Id="rId2" Type="http://schemas.openxmlformats.org/officeDocument/2006/relationships/slideLayout" Target="../slideLayouts/slideLayout17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4" Type="http://schemas.openxmlformats.org/officeDocument/2006/relationships/image" Target="../media/image65.png"/><Relationship Id="rId5" Type="http://schemas.openxmlformats.org/officeDocument/2006/relationships/image" Target="../media/image66.png"/><Relationship Id="rId6" Type="http://schemas.openxmlformats.org/officeDocument/2006/relationships/image" Target="../media/image67.png"/><Relationship Id="rId7" Type="http://schemas.openxmlformats.org/officeDocument/2006/relationships/image" Target="../media/image68.png"/><Relationship Id="rId8" Type="http://schemas.openxmlformats.org/officeDocument/2006/relationships/image" Target="../media/image69.png"/><Relationship Id="rId1" Type="http://schemas.openxmlformats.org/officeDocument/2006/relationships/tags" Target="../tags/tag2.xml"/><Relationship Id="rId2" Type="http://schemas.openxmlformats.org/officeDocument/2006/relationships/slideLayout" Target="../slideLayouts/slideLayout17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4" Type="http://schemas.openxmlformats.org/officeDocument/2006/relationships/image" Target="../media/image70.png"/><Relationship Id="rId5" Type="http://schemas.openxmlformats.org/officeDocument/2006/relationships/image" Target="../media/image71.png"/><Relationship Id="rId6" Type="http://schemas.openxmlformats.org/officeDocument/2006/relationships/image" Target="../media/image72.png"/><Relationship Id="rId7" Type="http://schemas.openxmlformats.org/officeDocument/2006/relationships/image" Target="../media/image73.jpeg"/><Relationship Id="rId8" Type="http://schemas.openxmlformats.org/officeDocument/2006/relationships/image" Target="../media/image74.jpeg"/><Relationship Id="rId9" Type="http://schemas.openxmlformats.org/officeDocument/2006/relationships/image" Target="../media/image75.png"/><Relationship Id="rId10" Type="http://schemas.openxmlformats.org/officeDocument/2006/relationships/image" Target="../media/image76.png"/><Relationship Id="rId11" Type="http://schemas.openxmlformats.org/officeDocument/2006/relationships/image" Target="../media/image77.png"/><Relationship Id="rId1" Type="http://schemas.openxmlformats.org/officeDocument/2006/relationships/tags" Target="../tags/tag3.xml"/><Relationship Id="rId2" Type="http://schemas.openxmlformats.org/officeDocument/2006/relationships/slideLayout" Target="../slideLayouts/slideLayout177.xml"/></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9.png"/><Relationship Id="rId1" Type="http://schemas.openxmlformats.org/officeDocument/2006/relationships/slideLayout" Target="../slideLayouts/slideLayout178.xml"/><Relationship Id="rId2"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4" Type="http://schemas.openxmlformats.org/officeDocument/2006/relationships/image" Target="../media/image81.png"/><Relationship Id="rId1" Type="http://schemas.openxmlformats.org/officeDocument/2006/relationships/slideLayout" Target="../slideLayouts/slideLayout177.xml"/><Relationship Id="rId2"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1" Type="http://schemas.openxmlformats.org/officeDocument/2006/relationships/slideLayout" Target="../slideLayouts/slideLayout177.xml"/><Relationship Id="rId2"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image" Target="../media/image56.jpeg"/><Relationship Id="rId4" Type="http://schemas.openxmlformats.org/officeDocument/2006/relationships/image" Target="../media/image57.jpeg"/><Relationship Id="rId5" Type="http://schemas.openxmlformats.org/officeDocument/2006/relationships/image" Target="../media/image58.jpeg"/><Relationship Id="rId1" Type="http://schemas.openxmlformats.org/officeDocument/2006/relationships/slideLayout" Target="../slideLayouts/slideLayout177.xml"/><Relationship Id="rId2"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11" Type="http://schemas.openxmlformats.org/officeDocument/2006/relationships/image" Target="../media/image92.png"/><Relationship Id="rId12" Type="http://schemas.openxmlformats.org/officeDocument/2006/relationships/image" Target="../media/image93.png"/><Relationship Id="rId13" Type="http://schemas.openxmlformats.org/officeDocument/2006/relationships/image" Target="../media/image94.png"/><Relationship Id="rId14" Type="http://schemas.openxmlformats.org/officeDocument/2006/relationships/image" Target="../media/image95.png"/><Relationship Id="rId15" Type="http://schemas.openxmlformats.org/officeDocument/2006/relationships/image" Target="../media/image96.png"/><Relationship Id="rId16" Type="http://schemas.openxmlformats.org/officeDocument/2006/relationships/image" Target="../media/image97.png"/><Relationship Id="rId17" Type="http://schemas.openxmlformats.org/officeDocument/2006/relationships/image" Target="../media/image98.jpeg"/><Relationship Id="rId18" Type="http://schemas.openxmlformats.org/officeDocument/2006/relationships/slide" Target="slide28.xml"/><Relationship Id="rId1" Type="http://schemas.openxmlformats.org/officeDocument/2006/relationships/slideLayout" Target="../slideLayouts/slideLayout176.xml"/><Relationship Id="rId2" Type="http://schemas.openxmlformats.org/officeDocument/2006/relationships/notesSlide" Target="../notesSlides/notesSlide22.xml"/><Relationship Id="rId3" Type="http://schemas.openxmlformats.org/officeDocument/2006/relationships/image" Target="../media/image84.png"/><Relationship Id="rId4" Type="http://schemas.openxmlformats.org/officeDocument/2006/relationships/image" Target="../media/image85.png"/><Relationship Id="rId5" Type="http://schemas.openxmlformats.org/officeDocument/2006/relationships/image" Target="../media/image86.png"/><Relationship Id="rId6" Type="http://schemas.openxmlformats.org/officeDocument/2006/relationships/image" Target="../media/image87.png"/><Relationship Id="rId7" Type="http://schemas.openxmlformats.org/officeDocument/2006/relationships/image" Target="../media/image88.png"/><Relationship Id="rId8" Type="http://schemas.openxmlformats.org/officeDocument/2006/relationships/image" Target="../media/image89.jpeg"/><Relationship Id="rId9" Type="http://schemas.openxmlformats.org/officeDocument/2006/relationships/image" Target="../media/image90.jpeg"/><Relationship Id="rId10" Type="http://schemas.openxmlformats.org/officeDocument/2006/relationships/image" Target="../media/image91.png"/></Relationships>
</file>

<file path=ppt/slides/_rels/slide29.xml.rels><?xml version="1.0" encoding="UTF-8" standalone="yes"?>
<Relationships xmlns="http://schemas.openxmlformats.org/package/2006/relationships"><Relationship Id="rId3" Type="http://schemas.openxmlformats.org/officeDocument/2006/relationships/image" Target="../media/image99.png"/><Relationship Id="rId4" Type="http://schemas.openxmlformats.org/officeDocument/2006/relationships/image" Target="../media/image100.png"/><Relationship Id="rId5" Type="http://schemas.openxmlformats.org/officeDocument/2006/relationships/image" Target="../media/image101.png"/><Relationship Id="rId1" Type="http://schemas.openxmlformats.org/officeDocument/2006/relationships/slideLayout" Target="../slideLayouts/slideLayout176.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5.xml"/><Relationship Id="rId2" Type="http://schemas.openxmlformats.org/officeDocument/2006/relationships/notesSlide" Target="../notesSlides/notesSlide3.xml"/><Relationship Id="rId3" Type="http://schemas.openxmlformats.org/officeDocument/2006/relationships/image" Target="../media/image25.png"/></Relationships>
</file>

<file path=ppt/slides/_rels/slide30.xml.rels><?xml version="1.0" encoding="UTF-8" standalone="yes"?>
<Relationships xmlns="http://schemas.openxmlformats.org/package/2006/relationships"><Relationship Id="rId3" Type="http://schemas.openxmlformats.org/officeDocument/2006/relationships/image" Target="../media/image102.png"/><Relationship Id="rId4" Type="http://schemas.microsoft.com/office/2007/relationships/hdphoto" Target="../media/hdphoto3.wdp"/><Relationship Id="rId1" Type="http://schemas.openxmlformats.org/officeDocument/2006/relationships/slideLayout" Target="../slideLayouts/slideLayout176.xml"/><Relationship Id="rId2"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6.xml"/><Relationship Id="rId2"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6.xml"/><Relationship Id="rId2" Type="http://schemas.openxmlformats.org/officeDocument/2006/relationships/notesSlide" Target="../notesSlides/notesSlide26.xml"/><Relationship Id="rId3" Type="http://schemas.openxmlformats.org/officeDocument/2006/relationships/image" Target="../media/image103.png"/></Relationships>
</file>

<file path=ppt/slides/_rels/slide33.xml.rels><?xml version="1.0" encoding="UTF-8" standalone="yes"?>
<Relationships xmlns="http://schemas.openxmlformats.org/package/2006/relationships"><Relationship Id="rId3" Type="http://schemas.openxmlformats.org/officeDocument/2006/relationships/image" Target="../media/image56.jpeg"/><Relationship Id="rId4" Type="http://schemas.openxmlformats.org/officeDocument/2006/relationships/image" Target="../media/image57.jpeg"/><Relationship Id="rId5" Type="http://schemas.openxmlformats.org/officeDocument/2006/relationships/image" Target="../media/image58.jpeg"/><Relationship Id="rId1" Type="http://schemas.openxmlformats.org/officeDocument/2006/relationships/slideLayout" Target="../slideLayouts/slideLayout177.xml"/><Relationship Id="rId2"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3" Type="http://schemas.openxmlformats.org/officeDocument/2006/relationships/image" Target="../media/image104.emf"/><Relationship Id="rId4" Type="http://schemas.openxmlformats.org/officeDocument/2006/relationships/image" Target="../media/image105.emf"/><Relationship Id="rId1" Type="http://schemas.openxmlformats.org/officeDocument/2006/relationships/slideLayout" Target="../slideLayouts/slideLayout177.xml"/><Relationship Id="rId2" Type="http://schemas.openxmlformats.org/officeDocument/2006/relationships/notesSlide" Target="../notesSlides/notesSlide28.xml"/></Relationships>
</file>

<file path=ppt/slides/_rels/slide35.xml.rels><?xml version="1.0" encoding="UTF-8" standalone="yes"?>
<Relationships xmlns="http://schemas.openxmlformats.org/package/2006/relationships"><Relationship Id="rId3" Type="http://schemas.openxmlformats.org/officeDocument/2006/relationships/image" Target="../media/image106.emf"/><Relationship Id="rId4" Type="http://schemas.openxmlformats.org/officeDocument/2006/relationships/image" Target="../media/image107.emf"/><Relationship Id="rId5" Type="http://schemas.openxmlformats.org/officeDocument/2006/relationships/image" Target="../media/image108.emf"/><Relationship Id="rId6" Type="http://schemas.openxmlformats.org/officeDocument/2006/relationships/image" Target="../media/image109.emf"/><Relationship Id="rId7" Type="http://schemas.openxmlformats.org/officeDocument/2006/relationships/image" Target="../media/image110.emf"/><Relationship Id="rId8" Type="http://schemas.openxmlformats.org/officeDocument/2006/relationships/image" Target="../media/image111.emf"/><Relationship Id="rId9" Type="http://schemas.openxmlformats.org/officeDocument/2006/relationships/image" Target="../media/image112.jpeg"/><Relationship Id="rId10" Type="http://schemas.openxmlformats.org/officeDocument/2006/relationships/image" Target="../media/image113.png"/><Relationship Id="rId1" Type="http://schemas.openxmlformats.org/officeDocument/2006/relationships/slideLayout" Target="../slideLayouts/slideLayout177.xml"/><Relationship Id="rId2"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7.xml"/><Relationship Id="rId2" Type="http://schemas.openxmlformats.org/officeDocument/2006/relationships/notesSlide" Target="../notesSlides/notesSlide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3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3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11" Type="http://schemas.openxmlformats.org/officeDocument/2006/relationships/image" Target="../media/image34.png"/><Relationship Id="rId12" Type="http://schemas.openxmlformats.org/officeDocument/2006/relationships/image" Target="../media/image35.png"/><Relationship Id="rId13" Type="http://schemas.openxmlformats.org/officeDocument/2006/relationships/image" Target="../media/image36.png"/><Relationship Id="rId14" Type="http://schemas.openxmlformats.org/officeDocument/2006/relationships/image" Target="../media/image37.png"/><Relationship Id="rId15" Type="http://schemas.openxmlformats.org/officeDocument/2006/relationships/image" Target="../media/image38.tiff"/><Relationship Id="rId1" Type="http://schemas.openxmlformats.org/officeDocument/2006/relationships/slideLayout" Target="../slideLayouts/slideLayout121.xml"/><Relationship Id="rId2" Type="http://schemas.openxmlformats.org/officeDocument/2006/relationships/notesSlide" Target="../notesSlides/notesSlide4.xml"/><Relationship Id="rId3" Type="http://schemas.openxmlformats.org/officeDocument/2006/relationships/image" Target="../media/image26.png"/><Relationship Id="rId4" Type="http://schemas.openxmlformats.org/officeDocument/2006/relationships/image" Target="../media/image27.jpe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image" Target="../media/image31.png"/><Relationship Id="rId9" Type="http://schemas.openxmlformats.org/officeDocument/2006/relationships/image" Target="../media/image32.png"/><Relationship Id="rId10" Type="http://schemas.openxmlformats.org/officeDocument/2006/relationships/image" Target="../media/image3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3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3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3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3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96.xml"/><Relationship Id="rId2" Type="http://schemas.openxmlformats.org/officeDocument/2006/relationships/notesSlide" Target="../notesSlides/notesSlide3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96.xml"/><Relationship Id="rId2" Type="http://schemas.openxmlformats.org/officeDocument/2006/relationships/notesSlide" Target="../notesSlides/notesSlide39.xml"/><Relationship Id="rId3" Type="http://schemas.openxmlformats.org/officeDocument/2006/relationships/image" Target="../media/image11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1.xml"/><Relationship Id="rId2" Type="http://schemas.openxmlformats.org/officeDocument/2006/relationships/notesSlide" Target="../notesSlides/notesSlide40.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41.png"/><Relationship Id="rId1" Type="http://schemas.openxmlformats.org/officeDocument/2006/relationships/slideLayout" Target="../slideLayouts/slideLayout136.xml"/><Relationship Id="rId2" Type="http://schemas.openxmlformats.org/officeDocument/2006/relationships/image" Target="../media/image39.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96.xml"/><Relationship Id="rId2" Type="http://schemas.openxmlformats.org/officeDocument/2006/relationships/notesSlide" Target="../notesSlides/notesSlide4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5.xml"/><Relationship Id="rId2" Type="http://schemas.openxmlformats.org/officeDocument/2006/relationships/notesSlide" Target="../notesSlides/notesSlide42.xml"/><Relationship Id="rId3" Type="http://schemas.openxmlformats.org/officeDocument/2006/relationships/image" Target="../media/image115.png"/></Relationships>
</file>

<file path=ppt/slides/_rels/slide6.xml.rels><?xml version="1.0" encoding="UTF-8" standalone="yes"?>
<Relationships xmlns="http://schemas.openxmlformats.org/package/2006/relationships"><Relationship Id="rId3" Type="http://schemas.openxmlformats.org/officeDocument/2006/relationships/customXml" Target="../../customXml/item6.xml"/><Relationship Id="rId4" Type="http://schemas.openxmlformats.org/officeDocument/2006/relationships/customXml" Target="../../customXml/item7.xml"/><Relationship Id="rId5" Type="http://schemas.openxmlformats.org/officeDocument/2006/relationships/customXml" Target="../../customXml/item8.xml"/><Relationship Id="rId6" Type="http://schemas.openxmlformats.org/officeDocument/2006/relationships/slideLayout" Target="../slideLayouts/slideLayout176.xml"/><Relationship Id="rId7" Type="http://schemas.openxmlformats.org/officeDocument/2006/relationships/notesSlide" Target="../notesSlides/notesSlide5.xml"/><Relationship Id="rId1" Type="http://schemas.openxmlformats.org/officeDocument/2006/relationships/customXml" Target="../../customXml/item4.xml"/><Relationship Id="rId2" Type="http://schemas.openxmlformats.org/officeDocument/2006/relationships/customXml" Target="../../customXml/item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3.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9.xml.rels><?xml version="1.0" encoding="UTF-8" standalone="yes"?>
<Relationships xmlns="http://schemas.openxmlformats.org/package/2006/relationships"><Relationship Id="rId3" Type="http://schemas.openxmlformats.org/officeDocument/2006/relationships/hyperlink" Target="http://www.snowflake.net/" TargetMode="External"/><Relationship Id="rId4" Type="http://schemas.openxmlformats.org/officeDocument/2006/relationships/image" Target="../media/image43.tiff"/><Relationship Id="rId5" Type="http://schemas.openxmlformats.org/officeDocument/2006/relationships/image" Target="../media/image44.tiff"/><Relationship Id="rId6" Type="http://schemas.openxmlformats.org/officeDocument/2006/relationships/image" Target="../media/image45.tiff"/><Relationship Id="rId7" Type="http://schemas.openxmlformats.org/officeDocument/2006/relationships/image" Target="../media/image46.tiff"/><Relationship Id="rId1" Type="http://schemas.openxmlformats.org/officeDocument/2006/relationships/slideLayout" Target="../slideLayouts/slideLayout176.xml"/><Relationship Id="rId2"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Hadoop on HDInsight</a:t>
            </a:r>
            <a:br>
              <a:rPr lang="en-US" sz="4799" dirty="0"/>
            </a:br>
            <a:r>
              <a:rPr lang="en-US" sz="4799" dirty="0">
                <a:solidFill>
                  <a:srgbClr val="FFCC00"/>
                </a:solidFill>
              </a:rPr>
              <a:t>Overview</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solidFill>
                  <a:schemeClr val="tx1"/>
                </a:solidFill>
              </a:rPr>
              <a:t>The Simplified Microsoft Big Data Stack</a:t>
            </a:r>
            <a:endParaRPr lang="en-US" dirty="0">
              <a:solidFill>
                <a:schemeClr val="tx1"/>
              </a:solidFill>
            </a:endParaRPr>
          </a:p>
        </p:txBody>
      </p:sp>
      <p:sp>
        <p:nvSpPr>
          <p:cNvPr id="3" name="Rectangle 2"/>
          <p:cNvSpPr/>
          <p:nvPr/>
        </p:nvSpPr>
        <p:spPr>
          <a:xfrm>
            <a:off x="2681749" y="2106049"/>
            <a:ext cx="2557930" cy="2617693"/>
          </a:xfrm>
          <a:prstGeom prst="rect">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ectangle 3"/>
          <p:cNvSpPr/>
          <p:nvPr/>
        </p:nvSpPr>
        <p:spPr>
          <a:xfrm>
            <a:off x="2681749" y="5035273"/>
            <a:ext cx="5402729" cy="1021977"/>
          </a:xfrm>
          <a:prstGeom prst="rect">
            <a:avLst/>
          </a:prstGeom>
          <a:noFill/>
          <a:ln w="5715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 name="TextBox 4"/>
          <p:cNvSpPr txBox="1"/>
          <p:nvPr/>
        </p:nvSpPr>
        <p:spPr>
          <a:xfrm>
            <a:off x="2913058" y="5192318"/>
            <a:ext cx="5248572" cy="707886"/>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353535"/>
                </a:solidFill>
                <a:effectLst/>
                <a:uLnTx/>
                <a:uFillTx/>
                <a:latin typeface="Segoe UI Semilight"/>
                <a:ea typeface="+mn-ea"/>
                <a:cs typeface="+mn-cs"/>
              </a:rPr>
              <a:t>Azure Data Lake Store</a:t>
            </a:r>
          </a:p>
        </p:txBody>
      </p:sp>
      <p:sp>
        <p:nvSpPr>
          <p:cNvPr id="6" name="Rectangle 5"/>
          <p:cNvSpPr/>
          <p:nvPr/>
        </p:nvSpPr>
        <p:spPr>
          <a:xfrm>
            <a:off x="5526548" y="2106048"/>
            <a:ext cx="2557930" cy="26176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Box 6"/>
          <p:cNvSpPr txBox="1"/>
          <p:nvPr/>
        </p:nvSpPr>
        <p:spPr>
          <a:xfrm>
            <a:off x="2704597" y="2472234"/>
            <a:ext cx="2525844" cy="193899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353535"/>
                </a:solidFill>
                <a:effectLst/>
                <a:uLnTx/>
                <a:uFillTx/>
                <a:latin typeface="Segoe UI Semilight"/>
                <a:ea typeface="+mn-ea"/>
                <a:cs typeface="+mn-cs"/>
              </a:rPr>
              <a:t>Azure Data Lake Analytics</a:t>
            </a:r>
          </a:p>
        </p:txBody>
      </p:sp>
      <p:sp>
        <p:nvSpPr>
          <p:cNvPr id="8" name="TextBox 7"/>
          <p:cNvSpPr txBox="1"/>
          <p:nvPr/>
        </p:nvSpPr>
        <p:spPr>
          <a:xfrm>
            <a:off x="5744019" y="3092454"/>
            <a:ext cx="3341238" cy="646331"/>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9" name="TextBox 8"/>
          <p:cNvSpPr txBox="1"/>
          <p:nvPr/>
        </p:nvSpPr>
        <p:spPr>
          <a:xfrm>
            <a:off x="8720592" y="3355467"/>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Spark</a:t>
            </a:r>
          </a:p>
        </p:txBody>
      </p:sp>
      <p:sp>
        <p:nvSpPr>
          <p:cNvPr id="10" name="TextBox 9"/>
          <p:cNvSpPr txBox="1"/>
          <p:nvPr/>
        </p:nvSpPr>
        <p:spPr>
          <a:xfrm>
            <a:off x="8731676" y="3831596"/>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Hive</a:t>
            </a:r>
          </a:p>
        </p:txBody>
      </p:sp>
      <p:cxnSp>
        <p:nvCxnSpPr>
          <p:cNvPr id="11" name="Straight Arrow Connector 10"/>
          <p:cNvCxnSpPr/>
          <p:nvPr/>
        </p:nvCxnSpPr>
        <p:spPr>
          <a:xfrm flipH="1">
            <a:off x="8153319" y="4090757"/>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753844" y="2442620"/>
            <a:ext cx="2235196"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MapReduce</a:t>
            </a:r>
          </a:p>
        </p:txBody>
      </p:sp>
      <p:sp>
        <p:nvSpPr>
          <p:cNvPr id="13" name="TextBox 12"/>
          <p:cNvSpPr txBox="1"/>
          <p:nvPr/>
        </p:nvSpPr>
        <p:spPr>
          <a:xfrm>
            <a:off x="8735073" y="2918510"/>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Storm</a:t>
            </a:r>
          </a:p>
        </p:txBody>
      </p:sp>
      <p:sp>
        <p:nvSpPr>
          <p:cNvPr id="14" name="TextBox 13"/>
          <p:cNvSpPr txBox="1"/>
          <p:nvPr/>
        </p:nvSpPr>
        <p:spPr>
          <a:xfrm>
            <a:off x="8753844" y="2013512"/>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R Server</a:t>
            </a:r>
          </a:p>
        </p:txBody>
      </p:sp>
      <p:cxnSp>
        <p:nvCxnSpPr>
          <p:cNvPr id="15" name="Straight Arrow Connector 14"/>
          <p:cNvCxnSpPr/>
          <p:nvPr/>
        </p:nvCxnSpPr>
        <p:spPr>
          <a:xfrm flipH="1">
            <a:off x="8167170" y="3639097"/>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8156087" y="3212383"/>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8161630" y="2735780"/>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8167171" y="2297980"/>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753844" y="3414895"/>
            <a:ext cx="978611" cy="93992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93219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par>
                                <p:cTn id="39" presetID="10" presetClass="entr" presetSubtype="0"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fade">
                                      <p:cBhvr>
                                        <p:cTn id="53" dur="500"/>
                                        <p:tgtEl>
                                          <p:spTgt spid="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animBg="1"/>
      <p:bldP spid="7" grpId="0"/>
      <p:bldP spid="8" grpId="0"/>
      <p:bldP spid="9" grpId="0"/>
      <p:bldP spid="10" grpId="0"/>
      <p:bldP spid="12" grpId="0"/>
      <p:bldP spid="13" grpId="0"/>
      <p:bldP spid="14" grpId="0"/>
      <p:bldP spid="1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Big Data Zoo</a:t>
            </a:r>
          </a:p>
        </p:txBody>
      </p:sp>
      <p:sp>
        <p:nvSpPr>
          <p:cNvPr id="4" name="Text Placeholder 3"/>
          <p:cNvSpPr>
            <a:spLocks noGrp="1"/>
          </p:cNvSpPr>
          <p:nvPr>
            <p:ph type="body" sz="quarter" idx="10"/>
          </p:nvPr>
        </p:nvSpPr>
        <p:spPr>
          <a:xfrm>
            <a:off x="274641" y="1212849"/>
            <a:ext cx="5486399" cy="3293209"/>
          </a:xfrm>
        </p:spPr>
        <p:txBody>
          <a:bodyPr/>
          <a:lstStyle/>
          <a:p>
            <a:pPr marL="571500" indent="-571500">
              <a:buFont typeface="Arial" panose="020B0604020202020204" pitchFamily="34" charset="0"/>
              <a:buChar char="•"/>
            </a:pPr>
            <a:r>
              <a:rPr lang="en-US" sz="2400" dirty="0"/>
              <a:t>The goal of Hadoop is to create a unified framework for processing big data</a:t>
            </a:r>
          </a:p>
          <a:p>
            <a:pPr marL="571500" indent="-571500">
              <a:buFont typeface="Arial" panose="020B0604020202020204" pitchFamily="34" charset="0"/>
              <a:buChar char="•"/>
            </a:pPr>
            <a:r>
              <a:rPr lang="en-US" sz="2400" dirty="0"/>
              <a:t>Three major requirements:</a:t>
            </a:r>
          </a:p>
          <a:p>
            <a:pPr marL="803313" lvl="2" indent="-571500">
              <a:buFont typeface="+mj-lt"/>
              <a:buAutoNum type="arabicPeriod"/>
            </a:pPr>
            <a:r>
              <a:rPr lang="en-US" sz="2400" dirty="0">
                <a:solidFill>
                  <a:schemeClr val="bg2">
                    <a:lumMod val="50000"/>
                  </a:schemeClr>
                </a:solidFill>
                <a:latin typeface="+mj-lt"/>
              </a:rPr>
              <a:t>Scalability</a:t>
            </a:r>
          </a:p>
          <a:p>
            <a:pPr marL="803313" lvl="2" indent="-571500">
              <a:buFont typeface="+mj-lt"/>
              <a:buAutoNum type="arabicPeriod"/>
            </a:pPr>
            <a:r>
              <a:rPr lang="en-US" sz="2400" dirty="0">
                <a:solidFill>
                  <a:schemeClr val="accent4">
                    <a:lumMod val="60000"/>
                    <a:lumOff val="40000"/>
                  </a:schemeClr>
                </a:solidFill>
                <a:latin typeface="+mj-lt"/>
              </a:rPr>
              <a:t>Reliability</a:t>
            </a:r>
          </a:p>
          <a:p>
            <a:pPr marL="803313" lvl="2" indent="-571500">
              <a:buFont typeface="+mj-lt"/>
              <a:buAutoNum type="arabicPeriod"/>
            </a:pPr>
            <a:r>
              <a:rPr lang="en-US" sz="2400" dirty="0">
                <a:solidFill>
                  <a:schemeClr val="accent6">
                    <a:lumMod val="60000"/>
                    <a:lumOff val="40000"/>
                  </a:schemeClr>
                </a:solidFill>
                <a:latin typeface="+mj-lt"/>
              </a:rPr>
              <a:t>Efficiency</a:t>
            </a:r>
          </a:p>
          <a:p>
            <a:pPr lvl="2"/>
            <a:endParaRPr lang="en-US" sz="2400" dirty="0">
              <a:solidFill>
                <a:schemeClr val="accent6">
                  <a:lumMod val="60000"/>
                  <a:lumOff val="40000"/>
                </a:schemeClr>
              </a:solidFill>
              <a:latin typeface="+mj-lt"/>
            </a:endParaRPr>
          </a:p>
        </p:txBody>
      </p:sp>
      <p:cxnSp>
        <p:nvCxnSpPr>
          <p:cNvPr id="12" name="Straight Connector 11"/>
          <p:cNvCxnSpPr/>
          <p:nvPr/>
        </p:nvCxnSpPr>
        <p:spPr>
          <a:xfrm>
            <a:off x="5639976" y="766872"/>
            <a:ext cx="0" cy="373918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bwMode="auto">
          <a:xfrm>
            <a:off x="7116849" y="3109235"/>
            <a:ext cx="3674457" cy="131497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nvGrpSpPr>
          <p:cNvPr id="140" name="Group 139"/>
          <p:cNvGrpSpPr/>
          <p:nvPr/>
        </p:nvGrpSpPr>
        <p:grpSpPr>
          <a:xfrm>
            <a:off x="7298676" y="4182015"/>
            <a:ext cx="3302969" cy="167868"/>
            <a:chOff x="7851648" y="2916936"/>
            <a:chExt cx="3238500" cy="164592"/>
          </a:xfrm>
          <a:solidFill>
            <a:srgbClr val="92D050"/>
          </a:solidFill>
        </p:grpSpPr>
        <p:grpSp>
          <p:nvGrpSpPr>
            <p:cNvPr id="141" name="Group 140"/>
            <p:cNvGrpSpPr/>
            <p:nvPr/>
          </p:nvGrpSpPr>
          <p:grpSpPr>
            <a:xfrm>
              <a:off x="7851648" y="2916936"/>
              <a:ext cx="1586484" cy="164592"/>
              <a:chOff x="7851648" y="2916936"/>
              <a:chExt cx="1586484" cy="164592"/>
            </a:xfrm>
            <a:grpFill/>
          </p:grpSpPr>
          <p:sp>
            <p:nvSpPr>
              <p:cNvPr id="150" name="Rectangle 149"/>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1" name="Rectangle 150"/>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2" name="Rectangle 151"/>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3" name="Rectangle 152"/>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4" name="Rectangle 153"/>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5" name="Rectangle 154"/>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6" name="Rectangle 155"/>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42" name="Group 141"/>
            <p:cNvGrpSpPr/>
            <p:nvPr/>
          </p:nvGrpSpPr>
          <p:grpSpPr>
            <a:xfrm>
              <a:off x="9503664" y="2916936"/>
              <a:ext cx="1586484" cy="164592"/>
              <a:chOff x="7851648" y="2916936"/>
              <a:chExt cx="1586484" cy="164592"/>
            </a:xfrm>
            <a:grpFill/>
          </p:grpSpPr>
          <p:sp>
            <p:nvSpPr>
              <p:cNvPr id="143" name="Rectangle 142"/>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4" name="Rectangle 143"/>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5" name="Rectangle 144"/>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6" name="Rectangle 145"/>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7" name="Rectangle 146"/>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8" name="Rectangle 147"/>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9" name="Rectangle 148"/>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grpSp>
        <p:nvGrpSpPr>
          <p:cNvPr id="157" name="Group 156"/>
          <p:cNvGrpSpPr/>
          <p:nvPr/>
        </p:nvGrpSpPr>
        <p:grpSpPr>
          <a:xfrm>
            <a:off x="7298676" y="3280264"/>
            <a:ext cx="3302969" cy="167868"/>
            <a:chOff x="7851648" y="2916936"/>
            <a:chExt cx="3238500" cy="164592"/>
          </a:xfrm>
          <a:solidFill>
            <a:srgbClr val="92D050"/>
          </a:solidFill>
        </p:grpSpPr>
        <p:grpSp>
          <p:nvGrpSpPr>
            <p:cNvPr id="158" name="Group 157"/>
            <p:cNvGrpSpPr/>
            <p:nvPr/>
          </p:nvGrpSpPr>
          <p:grpSpPr>
            <a:xfrm>
              <a:off x="7851648" y="2916936"/>
              <a:ext cx="1586484" cy="164592"/>
              <a:chOff x="7851648" y="2916936"/>
              <a:chExt cx="1586484" cy="164592"/>
            </a:xfrm>
            <a:grpFill/>
          </p:grpSpPr>
          <p:sp>
            <p:nvSpPr>
              <p:cNvPr id="167" name="Rectangle 166"/>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8" name="Rectangle 167"/>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9" name="Rectangle 168"/>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0" name="Rectangle 169"/>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1" name="Rectangle 170"/>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2" name="Rectangle 171"/>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3" name="Rectangle 172"/>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59" name="Group 158"/>
            <p:cNvGrpSpPr/>
            <p:nvPr/>
          </p:nvGrpSpPr>
          <p:grpSpPr>
            <a:xfrm>
              <a:off x="9503664" y="2916936"/>
              <a:ext cx="1586484" cy="164592"/>
              <a:chOff x="7851648" y="2916936"/>
              <a:chExt cx="1586484" cy="164592"/>
            </a:xfrm>
            <a:grpFill/>
          </p:grpSpPr>
          <p:sp>
            <p:nvSpPr>
              <p:cNvPr id="160" name="Rectangle 159"/>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1" name="Rectangle 160"/>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2" name="Rectangle 161"/>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3" name="Rectangle 162"/>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4" name="Rectangle 163"/>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5" name="Rectangle 164"/>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6" name="Rectangle 165"/>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grpSp>
        <p:nvGrpSpPr>
          <p:cNvPr id="174" name="Group 173"/>
          <p:cNvGrpSpPr/>
          <p:nvPr/>
        </p:nvGrpSpPr>
        <p:grpSpPr>
          <a:xfrm>
            <a:off x="7298675" y="3565910"/>
            <a:ext cx="1130004" cy="167868"/>
            <a:chOff x="7807994" y="5995770"/>
            <a:chExt cx="1107948" cy="164592"/>
          </a:xfrm>
          <a:solidFill>
            <a:srgbClr val="92D050"/>
          </a:solidFill>
        </p:grpSpPr>
        <p:sp>
          <p:nvSpPr>
            <p:cNvPr id="175" name="Rectangle 174"/>
            <p:cNvSpPr/>
            <p:nvPr/>
          </p:nvSpPr>
          <p:spPr bwMode="auto">
            <a:xfrm>
              <a:off x="7807994"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6" name="Rectangle 175"/>
            <p:cNvSpPr/>
            <p:nvPr/>
          </p:nvSpPr>
          <p:spPr bwMode="auto">
            <a:xfrm>
              <a:off x="803049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7" name="Rectangle 176"/>
            <p:cNvSpPr/>
            <p:nvPr/>
          </p:nvSpPr>
          <p:spPr bwMode="auto">
            <a:xfrm>
              <a:off x="826671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8" name="Rectangle 177"/>
            <p:cNvSpPr/>
            <p:nvPr/>
          </p:nvSpPr>
          <p:spPr bwMode="auto">
            <a:xfrm>
              <a:off x="850598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9" name="Rectangle 178"/>
            <p:cNvSpPr/>
            <p:nvPr/>
          </p:nvSpPr>
          <p:spPr bwMode="auto">
            <a:xfrm>
              <a:off x="874220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sp>
        <p:nvSpPr>
          <p:cNvPr id="180" name="TextBox 179"/>
          <p:cNvSpPr txBox="1"/>
          <p:nvPr/>
        </p:nvSpPr>
        <p:spPr>
          <a:xfrm>
            <a:off x="8393475" y="3378135"/>
            <a:ext cx="1235699" cy="484954"/>
          </a:xfrm>
          <a:prstGeom prst="rect">
            <a:avLst/>
          </a:prstGeom>
          <a:noFill/>
        </p:spPr>
        <p:txBody>
          <a:bodyPr wrap="none" lIns="186521" tIns="149217" rIns="186521" bIns="149217" rtlCol="0">
            <a:noAutofit/>
          </a:bodyPr>
          <a:lstStyle/>
          <a:p>
            <a:pPr marL="0" marR="0" lvl="0" indent="0" defTabSz="777149"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chemeClr val="bg1"/>
                </a:solidFill>
                <a:effectLst/>
                <a:uLnTx/>
                <a:uFillTx/>
                <a:latin typeface="+mj-lt"/>
                <a:cs typeface="Segoe UI Semibold" panose="020B0702040204020203" pitchFamily="34" charset="0"/>
              </a:rPr>
              <a:t>HDFS</a:t>
            </a:r>
          </a:p>
        </p:txBody>
      </p:sp>
      <p:sp>
        <p:nvSpPr>
          <p:cNvPr id="181" name="Rectangle 180"/>
          <p:cNvSpPr/>
          <p:nvPr/>
        </p:nvSpPr>
        <p:spPr bwMode="auto">
          <a:xfrm>
            <a:off x="7116849" y="2227323"/>
            <a:ext cx="3674457" cy="923277"/>
          </a:xfrm>
          <a:prstGeom prst="rect">
            <a:avLst/>
          </a:prstGeom>
          <a:solidFill>
            <a:srgbClr val="2A80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2" name="Rectangle 181"/>
          <p:cNvSpPr/>
          <p:nvPr/>
        </p:nvSpPr>
        <p:spPr bwMode="auto">
          <a:xfrm>
            <a:off x="7116849" y="1229436"/>
            <a:ext cx="3674457" cy="997886"/>
          </a:xfrm>
          <a:prstGeom prst="rect">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3" name="TextBox 182"/>
          <p:cNvSpPr txBox="1"/>
          <p:nvPr/>
        </p:nvSpPr>
        <p:spPr>
          <a:xfrm>
            <a:off x="8332310" y="2391933"/>
            <a:ext cx="1235699" cy="484954"/>
          </a:xfrm>
          <a:prstGeom prst="rect">
            <a:avLst/>
          </a:prstGeom>
          <a:noFill/>
        </p:spPr>
        <p:txBody>
          <a:bodyPr wrap="none" lIns="186521" tIns="149217" rIns="186521" bIns="149217" rtlCol="0">
            <a:noAutofit/>
          </a:bodyPr>
          <a:lstStyle/>
          <a:p>
            <a:pPr marL="0" marR="0" lvl="0" indent="0" algn="ctr" defTabSz="777149"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chemeClr val="bg1"/>
                </a:solidFill>
                <a:effectLst/>
                <a:uLnTx/>
                <a:uFillTx/>
                <a:latin typeface="+mj-lt"/>
                <a:cs typeface="Segoe UI Semibold" panose="020B0702040204020203" pitchFamily="34" charset="0"/>
              </a:rPr>
              <a:t>YARN</a:t>
            </a:r>
            <a:endParaRPr kumimoji="0" lang="en-US" sz="2203" b="0" i="0" u="none" strike="noStrike" kern="0" cap="none" spc="0" normalizeH="0" baseline="0" noProof="0" dirty="0">
              <a:ln>
                <a:noFill/>
              </a:ln>
              <a:solidFill>
                <a:schemeClr val="bg1"/>
              </a:solidFill>
              <a:effectLst/>
              <a:uLnTx/>
              <a:uFillTx/>
              <a:latin typeface="+mj-lt"/>
              <a:cs typeface="Segoe UI Semibold" panose="020B0702040204020203" pitchFamily="34" charset="0"/>
            </a:endParaRPr>
          </a:p>
        </p:txBody>
      </p:sp>
      <p:sp>
        <p:nvSpPr>
          <p:cNvPr id="184" name="Trapezoid 183"/>
          <p:cNvSpPr/>
          <p:nvPr/>
        </p:nvSpPr>
        <p:spPr bwMode="auto">
          <a:xfrm flipV="1">
            <a:off x="7605688" y="2218183"/>
            <a:ext cx="1014206" cy="270455"/>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5" name="Trapezoid 184"/>
          <p:cNvSpPr/>
          <p:nvPr/>
        </p:nvSpPr>
        <p:spPr bwMode="auto">
          <a:xfrm flipV="1">
            <a:off x="9305357" y="2225768"/>
            <a:ext cx="1014206" cy="270455"/>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6" name="TextBox 185"/>
          <p:cNvSpPr txBox="1"/>
          <p:nvPr/>
        </p:nvSpPr>
        <p:spPr>
          <a:xfrm>
            <a:off x="7117304" y="1243204"/>
            <a:ext cx="1847332" cy="579768"/>
          </a:xfrm>
          <a:prstGeom prst="rect">
            <a:avLst/>
          </a:prstGeom>
          <a:noFill/>
        </p:spPr>
        <p:txBody>
          <a:bodyPr wrap="none" lIns="186521" tIns="149217" rIns="186521" bIns="149217" rtlCol="0">
            <a:noAutofit/>
          </a:bodyPr>
          <a:lstStyle>
            <a:defPPr>
              <a:defRPr lang="en-US"/>
            </a:defPPr>
            <a:lvl1pPr>
              <a:lnSpc>
                <a:spcPct val="90000"/>
              </a:lnSpc>
              <a:spcAft>
                <a:spcPts val="600"/>
              </a:spcAft>
              <a:defRPr sz="2400" b="1">
                <a:solidFill>
                  <a:schemeClr val="bg1"/>
                </a:solidFill>
              </a:defRPr>
            </a:lvl1pPr>
          </a:lstStyle>
          <a:p>
            <a:pPr marL="0" marR="0" lvl="0" indent="0" algn="ctr" defTabSz="777149" eaLnBrk="1" fontAlgn="auto" latinLnBrk="0" hangingPunct="1">
              <a:lnSpc>
                <a:spcPct val="90000"/>
              </a:lnSpc>
              <a:spcBef>
                <a:spcPts val="0"/>
              </a:spcBef>
              <a:spcAft>
                <a:spcPts val="510"/>
              </a:spcAft>
              <a:buClrTx/>
              <a:buSzTx/>
              <a:buFontTx/>
              <a:buNone/>
              <a:tabLst/>
              <a:defRPr/>
            </a:pPr>
            <a:r>
              <a:rPr kumimoji="0" lang="en-US" sz="2040" b="0" i="0" u="none" strike="noStrike" kern="0" cap="none" spc="0" normalizeH="0" baseline="0" noProof="0" dirty="0">
                <a:ln>
                  <a:noFill/>
                </a:ln>
                <a:effectLst/>
                <a:uLnTx/>
                <a:uFillTx/>
                <a:latin typeface="+mj-lt"/>
                <a:cs typeface="Segoe UI Semibold" panose="020B0702040204020203" pitchFamily="34" charset="0"/>
              </a:rPr>
              <a:t>MapReduce</a:t>
            </a:r>
          </a:p>
        </p:txBody>
      </p:sp>
      <p:sp>
        <p:nvSpPr>
          <p:cNvPr id="187" name="TextBox 186"/>
          <p:cNvSpPr txBox="1"/>
          <p:nvPr/>
        </p:nvSpPr>
        <p:spPr>
          <a:xfrm>
            <a:off x="9069942" y="1239607"/>
            <a:ext cx="1552438" cy="564291"/>
          </a:xfrm>
          <a:prstGeom prst="rect">
            <a:avLst/>
          </a:prstGeom>
          <a:noFill/>
        </p:spPr>
        <p:txBody>
          <a:bodyPr wrap="none" lIns="186521" tIns="149217" rIns="186521" bIns="149217" rtlCol="0">
            <a:noAutofit/>
          </a:bodyPr>
          <a:lstStyle>
            <a:defPPr>
              <a:defRPr lang="en-US"/>
            </a:defPPr>
            <a:lvl1pPr>
              <a:lnSpc>
                <a:spcPct val="90000"/>
              </a:lnSpc>
              <a:spcAft>
                <a:spcPts val="600"/>
              </a:spcAft>
              <a:defRPr sz="2400" b="1">
                <a:solidFill>
                  <a:schemeClr val="bg1"/>
                </a:solidFill>
              </a:defRPr>
            </a:lvl1pPr>
          </a:lstStyle>
          <a:p>
            <a:pPr marL="0" marR="0" lvl="0" indent="0" algn="ctr" defTabSz="777149" eaLnBrk="1" fontAlgn="auto" latinLnBrk="0" hangingPunct="1">
              <a:lnSpc>
                <a:spcPct val="90000"/>
              </a:lnSpc>
              <a:spcBef>
                <a:spcPts val="0"/>
              </a:spcBef>
              <a:spcAft>
                <a:spcPts val="510"/>
              </a:spcAft>
              <a:buClrTx/>
              <a:buSzTx/>
              <a:buFontTx/>
              <a:buNone/>
              <a:tabLst/>
              <a:defRPr/>
            </a:pPr>
            <a:r>
              <a:rPr kumimoji="0" lang="en-US" sz="2040" b="0" i="0" u="none" strike="noStrike" kern="0" cap="none" spc="0" normalizeH="0" baseline="0" noProof="0" dirty="0" err="1">
                <a:ln>
                  <a:noFill/>
                </a:ln>
                <a:effectLst/>
                <a:uLnTx/>
                <a:uFillTx/>
                <a:latin typeface="+mj-lt"/>
                <a:cs typeface="Segoe UI Semibold" panose="020B0702040204020203" pitchFamily="34" charset="0"/>
              </a:rPr>
              <a:t>Tez</a:t>
            </a:r>
            <a:endParaRPr kumimoji="0" lang="en-US" sz="2040" b="0" i="0" u="none" strike="noStrike" kern="0" cap="none" spc="0" normalizeH="0" baseline="0" noProof="0" dirty="0">
              <a:ln>
                <a:noFill/>
              </a:ln>
              <a:effectLst/>
              <a:uLnTx/>
              <a:uFillTx/>
              <a:latin typeface="+mj-lt"/>
              <a:cs typeface="Segoe UI Semibold" panose="020B0702040204020203" pitchFamily="34" charset="0"/>
            </a:endParaRPr>
          </a:p>
        </p:txBody>
      </p:sp>
      <p:cxnSp>
        <p:nvCxnSpPr>
          <p:cNvPr id="188" name="Straight Connector 187"/>
          <p:cNvCxnSpPr>
            <a:stCxn id="182" idx="0"/>
            <a:endCxn id="181" idx="0"/>
          </p:cNvCxnSpPr>
          <p:nvPr/>
        </p:nvCxnSpPr>
        <p:spPr>
          <a:xfrm>
            <a:off x="8954076" y="1229436"/>
            <a:ext cx="0" cy="997886"/>
          </a:xfrm>
          <a:prstGeom prst="line">
            <a:avLst/>
          </a:prstGeom>
          <a:ln w="38100">
            <a:solidFill>
              <a:schemeClr val="bg1"/>
            </a:solidFill>
            <a:prstDash val="sysDot"/>
            <a:headEnd type="none"/>
            <a:tailEnd type="none"/>
          </a:ln>
        </p:spPr>
        <p:style>
          <a:lnRef idx="1">
            <a:schemeClr val="accent5"/>
          </a:lnRef>
          <a:fillRef idx="0">
            <a:schemeClr val="accent5"/>
          </a:fillRef>
          <a:effectRef idx="0">
            <a:schemeClr val="accent5"/>
          </a:effectRef>
          <a:fontRef idx="minor">
            <a:schemeClr val="tx1"/>
          </a:fontRef>
        </p:style>
      </p:cxnSp>
      <p:sp>
        <p:nvSpPr>
          <p:cNvPr id="189" name="TextBox 188"/>
          <p:cNvSpPr txBox="1"/>
          <p:nvPr/>
        </p:nvSpPr>
        <p:spPr>
          <a:xfrm>
            <a:off x="7012873" y="766872"/>
            <a:ext cx="3778432" cy="305722"/>
          </a:xfrm>
          <a:prstGeom prst="rect">
            <a:avLst/>
          </a:prstGeom>
          <a:noFill/>
        </p:spPr>
        <p:txBody>
          <a:bodyPr wrap="none" lIns="186521" tIns="149217" rIns="186521" bIns="149217" rtlCol="0" anchor="ctr">
            <a:noAutofit/>
          </a:bodyPr>
          <a:lstStyle/>
          <a:p>
            <a:pPr marL="0" marR="0" lvl="0" indent="0" algn="ctr" defTabSz="777149" eaLnBrk="1" fontAlgn="auto" latinLnBrk="0" hangingPunct="1">
              <a:lnSpc>
                <a:spcPct val="90000"/>
              </a:lnSpc>
              <a:spcBef>
                <a:spcPts val="0"/>
              </a:spcBef>
              <a:spcAft>
                <a:spcPts val="612"/>
              </a:spcAft>
              <a:buClrTx/>
              <a:buSzTx/>
              <a:buFontTx/>
              <a:buNone/>
              <a:tabLst/>
              <a:defRPr/>
            </a:pPr>
            <a:r>
              <a:rPr kumimoji="0" lang="en-US" sz="2203" b="0" i="0" u="none" strike="noStrike" kern="0" cap="none" spc="0" normalizeH="0" baseline="0" noProof="0" dirty="0">
                <a:ln>
                  <a:noFill/>
                </a:ln>
                <a:effectLst/>
                <a:uLnTx/>
                <a:uFillTx/>
                <a:latin typeface="+mj-lt"/>
                <a:cs typeface="Segoe UI Semibold" panose="020B0702040204020203" pitchFamily="34" charset="0"/>
              </a:rPr>
              <a:t>Hadoop Core</a:t>
            </a:r>
          </a:p>
        </p:txBody>
      </p:sp>
      <p:grpSp>
        <p:nvGrpSpPr>
          <p:cNvPr id="190" name="Group 189"/>
          <p:cNvGrpSpPr/>
          <p:nvPr/>
        </p:nvGrpSpPr>
        <p:grpSpPr>
          <a:xfrm>
            <a:off x="9492376" y="3586741"/>
            <a:ext cx="1130004" cy="167868"/>
            <a:chOff x="7807994" y="5995770"/>
            <a:chExt cx="1107948" cy="164592"/>
          </a:xfrm>
          <a:solidFill>
            <a:srgbClr val="92D050"/>
          </a:solidFill>
        </p:grpSpPr>
        <p:sp>
          <p:nvSpPr>
            <p:cNvPr id="191" name="Rectangle 190"/>
            <p:cNvSpPr/>
            <p:nvPr/>
          </p:nvSpPr>
          <p:spPr bwMode="auto">
            <a:xfrm>
              <a:off x="7807994"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2" name="Rectangle 191"/>
            <p:cNvSpPr/>
            <p:nvPr/>
          </p:nvSpPr>
          <p:spPr bwMode="auto">
            <a:xfrm>
              <a:off x="803049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3" name="Rectangle 192"/>
            <p:cNvSpPr/>
            <p:nvPr/>
          </p:nvSpPr>
          <p:spPr bwMode="auto">
            <a:xfrm>
              <a:off x="826671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4" name="Rectangle 193"/>
            <p:cNvSpPr/>
            <p:nvPr/>
          </p:nvSpPr>
          <p:spPr bwMode="auto">
            <a:xfrm>
              <a:off x="850598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5" name="Rectangle 194"/>
            <p:cNvSpPr/>
            <p:nvPr/>
          </p:nvSpPr>
          <p:spPr bwMode="auto">
            <a:xfrm>
              <a:off x="874220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96" name="Group 195"/>
          <p:cNvGrpSpPr/>
          <p:nvPr/>
        </p:nvGrpSpPr>
        <p:grpSpPr>
          <a:xfrm>
            <a:off x="7298675" y="3872387"/>
            <a:ext cx="3302969" cy="167868"/>
            <a:chOff x="7851648" y="2916936"/>
            <a:chExt cx="3238500" cy="164592"/>
          </a:xfrm>
          <a:solidFill>
            <a:srgbClr val="92D050"/>
          </a:solidFill>
        </p:grpSpPr>
        <p:grpSp>
          <p:nvGrpSpPr>
            <p:cNvPr id="197" name="Group 196"/>
            <p:cNvGrpSpPr/>
            <p:nvPr/>
          </p:nvGrpSpPr>
          <p:grpSpPr>
            <a:xfrm>
              <a:off x="7851648" y="2916936"/>
              <a:ext cx="1586484" cy="164592"/>
              <a:chOff x="7851648" y="2916936"/>
              <a:chExt cx="1586484" cy="164592"/>
            </a:xfrm>
            <a:grpFill/>
          </p:grpSpPr>
          <p:sp>
            <p:nvSpPr>
              <p:cNvPr id="206" name="Rectangle 205"/>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7" name="Rectangle 206"/>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8" name="Rectangle 207"/>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9" name="Rectangle 208"/>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10" name="Rectangle 209"/>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11" name="Rectangle 210"/>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12" name="Rectangle 211"/>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98" name="Group 197"/>
            <p:cNvGrpSpPr/>
            <p:nvPr/>
          </p:nvGrpSpPr>
          <p:grpSpPr>
            <a:xfrm>
              <a:off x="9503664" y="2916936"/>
              <a:ext cx="1586484" cy="164592"/>
              <a:chOff x="7851648" y="2916936"/>
              <a:chExt cx="1586484" cy="164592"/>
            </a:xfrm>
            <a:grpFill/>
          </p:grpSpPr>
          <p:sp>
            <p:nvSpPr>
              <p:cNvPr id="199" name="Rectangle 198"/>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0" name="Rectangle 199"/>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1" name="Rectangle 200"/>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2" name="Rectangle 201"/>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3" name="Rectangle 202"/>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4" name="Rectangle 203"/>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5" name="Rectangle 204"/>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sp>
        <p:nvSpPr>
          <p:cNvPr id="5" name="Rectangle 4"/>
          <p:cNvSpPr/>
          <p:nvPr/>
        </p:nvSpPr>
        <p:spPr>
          <a:xfrm>
            <a:off x="1297469" y="4714664"/>
            <a:ext cx="9022094" cy="1200329"/>
          </a:xfrm>
          <a:prstGeom prst="rect">
            <a:avLst/>
          </a:prstGeom>
        </p:spPr>
        <p:txBody>
          <a:bodyPr wrap="square">
            <a:spAutoFit/>
          </a:bodyPr>
          <a:lstStyle/>
          <a:p>
            <a:pPr lvl="2"/>
            <a:r>
              <a:rPr lang="en-US" sz="2400" dirty="0">
                <a:solidFill>
                  <a:srgbClr val="000000"/>
                </a:solidFill>
                <a:latin typeface="+mj-lt"/>
              </a:rPr>
              <a:t>HDInsight simplifies the Hadoop ecosystem – </a:t>
            </a:r>
            <a:r>
              <a:rPr lang="en-US" sz="2400" dirty="0">
                <a:solidFill>
                  <a:schemeClr val="bg2">
                    <a:lumMod val="50000"/>
                  </a:schemeClr>
                </a:solidFill>
                <a:latin typeface="+mj-lt"/>
              </a:rPr>
              <a:t>easier to scale</a:t>
            </a:r>
            <a:r>
              <a:rPr lang="en-US" sz="2400" dirty="0">
                <a:solidFill>
                  <a:srgbClr val="000000"/>
                </a:solidFill>
                <a:latin typeface="+mj-lt"/>
              </a:rPr>
              <a:t>, </a:t>
            </a:r>
            <a:r>
              <a:rPr lang="en-US" sz="2400" dirty="0">
                <a:solidFill>
                  <a:srgbClr val="92D050"/>
                </a:solidFill>
                <a:latin typeface="+mj-lt"/>
              </a:rPr>
              <a:t>guaranteed reliability with triple 9s SLAs</a:t>
            </a:r>
            <a:r>
              <a:rPr lang="en-US" sz="2400" dirty="0">
                <a:solidFill>
                  <a:srgbClr val="000000"/>
                </a:solidFill>
                <a:latin typeface="+mj-lt"/>
              </a:rPr>
              <a:t>, and o</a:t>
            </a:r>
            <a:r>
              <a:rPr lang="en-US" sz="2400" dirty="0">
                <a:solidFill>
                  <a:srgbClr val="7030A0"/>
                </a:solidFill>
                <a:latin typeface="+mj-lt"/>
              </a:rPr>
              <a:t>ptimized clusters for every workload</a:t>
            </a:r>
            <a:r>
              <a:rPr lang="en-US" sz="2400" dirty="0">
                <a:solidFill>
                  <a:srgbClr val="000000"/>
                </a:solidFill>
                <a:latin typeface="+mj-lt"/>
              </a:rPr>
              <a:t>.</a:t>
            </a:r>
          </a:p>
        </p:txBody>
      </p:sp>
    </p:spTree>
    <p:extLst>
      <p:ext uri="{BB962C8B-B14F-4D97-AF65-F5344CB8AC3E}">
        <p14:creationId xmlns:p14="http://schemas.microsoft.com/office/powerpoint/2010/main" val="36407959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recation of HDInsight on Windows</a:t>
            </a:r>
          </a:p>
        </p:txBody>
      </p:sp>
      <p:sp>
        <p:nvSpPr>
          <p:cNvPr id="3" name="Text Placeholder 2"/>
          <p:cNvSpPr>
            <a:spLocks noGrp="1"/>
          </p:cNvSpPr>
          <p:nvPr>
            <p:ph type="body" sz="quarter" idx="10"/>
          </p:nvPr>
        </p:nvSpPr>
        <p:spPr>
          <a:xfrm>
            <a:off x="274639" y="1974849"/>
            <a:ext cx="12641259" cy="4756151"/>
          </a:xfrm>
        </p:spPr>
        <p:txBody>
          <a:bodyPr/>
          <a:lstStyle/>
          <a:p>
            <a:pPr marL="342900" indent="-342900">
              <a:buFont typeface="Arial" panose="020B0604020202020204" pitchFamily="34" charset="0"/>
              <a:buChar char="•"/>
            </a:pPr>
            <a:r>
              <a:rPr lang="en-US" sz="2400" dirty="0"/>
              <a:t>HDI 3.3 is the last version of HDInsight on Window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DI 3.3 will be deprecated on </a:t>
            </a:r>
            <a:r>
              <a:rPr lang="en-US" sz="2400" b="1" dirty="0"/>
              <a:t>July 31</a:t>
            </a:r>
            <a:r>
              <a:rPr lang="en-US" sz="2400" b="1" baseline="30000" dirty="0"/>
              <a:t>st</a:t>
            </a:r>
            <a:r>
              <a:rPr lang="en-US" sz="2400" b="1" dirty="0"/>
              <a:t> 2017 *</a:t>
            </a:r>
          </a:p>
          <a:p>
            <a:pPr marL="342900" indent="-342900">
              <a:buFont typeface="Arial" panose="020B0604020202020204" pitchFamily="34" charset="0"/>
              <a:buChar char="•"/>
            </a:pPr>
            <a:endParaRPr lang="en-US" sz="2400" b="1" dirty="0"/>
          </a:p>
          <a:p>
            <a:pPr marL="342900" indent="-342900">
              <a:buFont typeface="Arial" panose="020B0604020202020204" pitchFamily="34" charset="0"/>
              <a:buChar char="•"/>
            </a:pPr>
            <a:r>
              <a:rPr lang="en-US" sz="2400" dirty="0"/>
              <a:t>Refer </a:t>
            </a:r>
            <a:r>
              <a:rPr lang="en-US" sz="2400" u="sng" dirty="0">
                <a:hlinkClick r:id="rId2"/>
              </a:rPr>
              <a:t>this</a:t>
            </a:r>
            <a:r>
              <a:rPr lang="en-US" sz="2400" u="sng" dirty="0"/>
              <a:t> </a:t>
            </a:r>
            <a:r>
              <a:rPr lang="en-US" sz="2400" dirty="0"/>
              <a:t>to help migrate your customer to HDInsight on Linux</a:t>
            </a:r>
          </a:p>
          <a:p>
            <a:endParaRPr lang="en-US" sz="2400" dirty="0"/>
          </a:p>
          <a:p>
            <a:r>
              <a:rPr lang="en-US" sz="2400" b="1" dirty="0"/>
              <a:t>Impact</a:t>
            </a:r>
            <a:r>
              <a:rPr lang="en-US" sz="2400" dirty="0"/>
              <a:t>: Post Deprecation (i.e. after July 31</a:t>
            </a:r>
            <a:r>
              <a:rPr lang="en-US" sz="2400" baseline="30000" dirty="0"/>
              <a:t>st</a:t>
            </a:r>
            <a:r>
              <a:rPr lang="en-US" sz="2400" dirty="0"/>
              <a:t> 2017)</a:t>
            </a:r>
          </a:p>
          <a:p>
            <a:pPr marL="342900" lvl="1" indent="-342900">
              <a:buFont typeface="Arial" panose="020B0604020202020204" pitchFamily="34" charset="0"/>
              <a:buChar char="•"/>
            </a:pPr>
            <a:r>
              <a:rPr lang="en-US" sz="2400" dirty="0">
                <a:latin typeface="+mj-lt"/>
              </a:rPr>
              <a:t>You will not be able to create a HDInsight cluster on Windows</a:t>
            </a:r>
          </a:p>
          <a:p>
            <a:pPr marL="342900" lvl="1" indent="-342900">
              <a:buFont typeface="Arial" panose="020B0604020202020204" pitchFamily="34" charset="0"/>
              <a:buChar char="•"/>
            </a:pPr>
            <a:r>
              <a:rPr lang="en-US" sz="2400" dirty="0">
                <a:latin typeface="+mj-lt"/>
              </a:rPr>
              <a:t>You will not be able to resize an existing HDInsight on Windows cluster </a:t>
            </a:r>
          </a:p>
          <a:p>
            <a:r>
              <a:rPr lang="en-US" sz="2400" dirty="0"/>
              <a:t>* Deprecation time may vary by region.</a:t>
            </a:r>
          </a:p>
        </p:txBody>
      </p:sp>
    </p:spTree>
    <p:extLst>
      <p:ext uri="{BB962C8B-B14F-4D97-AF65-F5344CB8AC3E}">
        <p14:creationId xmlns:p14="http://schemas.microsoft.com/office/powerpoint/2010/main" val="141326703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7343" dirty="0"/>
              <a:t>Benefits of Azure HDInsight</a:t>
            </a:r>
          </a:p>
        </p:txBody>
      </p:sp>
    </p:spTree>
    <p:extLst>
      <p:ext uri="{BB962C8B-B14F-4D97-AF65-F5344CB8AC3E}">
        <p14:creationId xmlns:p14="http://schemas.microsoft.com/office/powerpoint/2010/main" val="69386092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14339" y="369116"/>
            <a:ext cx="10971244" cy="1024684"/>
          </a:xfrm>
        </p:spPr>
        <p:txBody>
          <a:bodyPr/>
          <a:lstStyle/>
          <a:p>
            <a:r>
              <a:rPr lang="en-US" dirty="0">
                <a:solidFill>
                  <a:schemeClr val="tx1"/>
                </a:solidFill>
              </a:rPr>
              <a:t>HDInsight – What is it?</a:t>
            </a:r>
          </a:p>
        </p:txBody>
      </p:sp>
      <p:sp>
        <p:nvSpPr>
          <p:cNvPr id="4" name="TextBox 3"/>
          <p:cNvSpPr txBox="1"/>
          <p:nvPr/>
        </p:nvSpPr>
        <p:spPr>
          <a:xfrm>
            <a:off x="513813" y="1353891"/>
            <a:ext cx="11405739" cy="540910"/>
          </a:xfrm>
          <a:prstGeom prst="rect">
            <a:avLst/>
          </a:prstGeom>
          <a:solidFill>
            <a:schemeClr val="accent2"/>
          </a:solidFill>
        </p:spPr>
        <p:txBody>
          <a:bodyPr wrap="none" lIns="186521" tIns="149217" rIns="186521" bIns="149217" rtlCol="0">
            <a:noAutofit/>
          </a:bodyPr>
          <a:lstStyle/>
          <a:p>
            <a:pPr algn="ctr">
              <a:lnSpc>
                <a:spcPct val="90000"/>
              </a:lnSpc>
              <a:spcAft>
                <a:spcPts val="612"/>
              </a:spcAft>
            </a:pPr>
            <a:r>
              <a:rPr lang="en-US" sz="2040" dirty="0">
                <a:solidFill>
                  <a:schemeClr val="bg1"/>
                </a:solidFill>
                <a:latin typeface="Segoe UI Semibold" panose="020B0702040204020203" pitchFamily="34" charset="0"/>
                <a:cs typeface="Segoe UI Semibold" panose="020B0702040204020203" pitchFamily="34" charset="0"/>
              </a:rPr>
              <a:t>A standard Apache Hadoop distribution offered as a managed service on Microsoft Azure</a:t>
            </a:r>
          </a:p>
        </p:txBody>
      </p:sp>
      <p:sp>
        <p:nvSpPr>
          <p:cNvPr id="5" name="TextBox 4"/>
          <p:cNvSpPr txBox="1"/>
          <p:nvPr/>
        </p:nvSpPr>
        <p:spPr>
          <a:xfrm>
            <a:off x="469180" y="1942190"/>
            <a:ext cx="7284320" cy="4384224"/>
          </a:xfrm>
          <a:prstGeom prst="rect">
            <a:avLst/>
          </a:prstGeom>
          <a:noFill/>
        </p:spPr>
        <p:txBody>
          <a:bodyPr wrap="square" lIns="186521" tIns="149217" rIns="186521" bIns="149217" rtlCol="0">
            <a:noAutofit/>
          </a:bodyPr>
          <a:lstStyle/>
          <a:p>
            <a:pPr marL="349724"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Based on Hortonworks Data Platform (HDP)</a:t>
            </a:r>
          </a:p>
          <a:p>
            <a:pPr marL="349724"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Includes managed implementations of the Spark, </a:t>
            </a:r>
            <a:r>
              <a:rPr lang="en-US" sz="2040" dirty="0" err="1">
                <a:solidFill>
                  <a:schemeClr val="tx1">
                    <a:lumMod val="65000"/>
                    <a:lumOff val="35000"/>
                  </a:schemeClr>
                </a:solidFill>
              </a:rPr>
              <a:t>HBase</a:t>
            </a:r>
            <a:r>
              <a:rPr lang="en-US" sz="2040" dirty="0">
                <a:solidFill>
                  <a:schemeClr val="tx1">
                    <a:lumMod val="65000"/>
                    <a:lumOff val="35000"/>
                  </a:schemeClr>
                </a:solidFill>
              </a:rPr>
              <a:t>, Interactive Hive, Kafka, Storm, and more…</a:t>
            </a:r>
          </a:p>
          <a:p>
            <a:pPr marL="816095" lvl="1"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Optimized for </a:t>
            </a:r>
            <a:r>
              <a:rPr lang="en-US" sz="2040" b="1" dirty="0">
                <a:solidFill>
                  <a:schemeClr val="tx1">
                    <a:lumMod val="65000"/>
                    <a:lumOff val="35000"/>
                  </a:schemeClr>
                </a:solidFill>
              </a:rPr>
              <a:t>scalability</a:t>
            </a:r>
            <a:r>
              <a:rPr lang="en-US" sz="2040" dirty="0">
                <a:solidFill>
                  <a:schemeClr val="tx1">
                    <a:lumMod val="65000"/>
                    <a:lumOff val="35000"/>
                  </a:schemeClr>
                </a:solidFill>
              </a:rPr>
              <a:t>, </a:t>
            </a:r>
            <a:r>
              <a:rPr lang="en-US" sz="2040" b="1" dirty="0">
                <a:solidFill>
                  <a:schemeClr val="tx1">
                    <a:lumMod val="65000"/>
                    <a:lumOff val="35000"/>
                  </a:schemeClr>
                </a:solidFill>
              </a:rPr>
              <a:t>efficiency</a:t>
            </a:r>
            <a:r>
              <a:rPr lang="en-US" sz="2040" dirty="0">
                <a:solidFill>
                  <a:schemeClr val="tx1">
                    <a:lumMod val="65000"/>
                    <a:lumOff val="35000"/>
                  </a:schemeClr>
                </a:solidFill>
              </a:rPr>
              <a:t> and </a:t>
            </a:r>
            <a:r>
              <a:rPr lang="en-US" sz="2040" b="1" dirty="0">
                <a:solidFill>
                  <a:schemeClr val="tx1">
                    <a:lumMod val="65000"/>
                    <a:lumOff val="35000"/>
                  </a:schemeClr>
                </a:solidFill>
              </a:rPr>
              <a:t>reliability</a:t>
            </a:r>
            <a:r>
              <a:rPr lang="en-US" sz="2040" dirty="0">
                <a:solidFill>
                  <a:schemeClr val="tx1">
                    <a:lumMod val="65000"/>
                    <a:lumOff val="35000"/>
                  </a:schemeClr>
                </a:solidFill>
              </a:rPr>
              <a:t> in the </a:t>
            </a:r>
            <a:r>
              <a:rPr lang="en-US" sz="2040" b="1" dirty="0">
                <a:solidFill>
                  <a:schemeClr val="tx1">
                    <a:lumMod val="65000"/>
                    <a:lumOff val="35000"/>
                  </a:schemeClr>
                </a:solidFill>
              </a:rPr>
              <a:t>cloud</a:t>
            </a:r>
          </a:p>
          <a:p>
            <a:pPr marL="349724"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Offers capacity-on-demand, pay-as-you-go pricing model</a:t>
            </a:r>
          </a:p>
          <a:p>
            <a:pPr marL="349724" indent="-349724">
              <a:lnSpc>
                <a:spcPts val="2652"/>
              </a:lnSpc>
              <a:spcBef>
                <a:spcPts val="306"/>
              </a:spcBef>
              <a:buClr>
                <a:schemeClr val="tx1"/>
              </a:buClr>
              <a:buSzPct val="75000"/>
              <a:buFont typeface="Wingdings" panose="05000000000000000000" pitchFamily="2" charset="2"/>
              <a:buChar char="v"/>
            </a:pPr>
            <a:r>
              <a:rPr lang="en-US" sz="2040" dirty="0">
                <a:solidFill>
                  <a:schemeClr val="tx1">
                    <a:lumMod val="65000"/>
                    <a:lumOff val="35000"/>
                  </a:schemeClr>
                </a:solidFill>
              </a:rPr>
              <a:t>Integrates with:</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Azure Blob Storage and Azure Data Lake Store for Hadoop File System (HDFS) </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Azure Portal for management and administration</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Visual Studio for application development tooling</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Analytic and BI tools – R Server, </a:t>
            </a:r>
            <a:r>
              <a:rPr lang="en-US" sz="1836" dirty="0" err="1">
                <a:solidFill>
                  <a:schemeClr val="tx1">
                    <a:lumMod val="65000"/>
                    <a:lumOff val="35000"/>
                  </a:schemeClr>
                </a:solidFill>
              </a:rPr>
              <a:t>PowerBI</a:t>
            </a:r>
            <a:r>
              <a:rPr lang="en-US" sz="1836" dirty="0">
                <a:solidFill>
                  <a:schemeClr val="tx1">
                    <a:lumMod val="65000"/>
                    <a:lumOff val="35000"/>
                  </a:schemeClr>
                </a:solidFill>
              </a:rPr>
              <a:t>, etc. </a:t>
            </a:r>
          </a:p>
          <a:p>
            <a:pPr marL="291436" indent="-291436">
              <a:lnSpc>
                <a:spcPct val="90000"/>
              </a:lnSpc>
              <a:spcAft>
                <a:spcPts val="612"/>
              </a:spcAft>
              <a:buClr>
                <a:schemeClr val="tx1"/>
              </a:buClr>
              <a:buSzPct val="75000"/>
              <a:buFont typeface="Wingdings" panose="05000000000000000000" pitchFamily="2" charset="2"/>
              <a:buChar char="v"/>
            </a:pPr>
            <a:endParaRPr lang="en-US" sz="1836" dirty="0">
              <a:solidFill>
                <a:schemeClr val="tx1">
                  <a:lumMod val="85000"/>
                  <a:lumOff val="15000"/>
                </a:schemeClr>
              </a:solidFill>
            </a:endParaRPr>
          </a:p>
        </p:txBody>
      </p:sp>
      <p:pic>
        <p:nvPicPr>
          <p:cNvPr id="6" name="Picture 2" descr="https://svn.apache.org/repos/asf/tez/site/images/ApacheTez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76873" y="2929446"/>
            <a:ext cx="903444" cy="903444"/>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a:spLocks/>
          </p:cNvSpPr>
          <p:nvPr/>
        </p:nvSpPr>
        <p:spPr bwMode="auto">
          <a:xfrm>
            <a:off x="8109259" y="2956958"/>
            <a:ext cx="683908" cy="55080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noFill/>
          <a:ln w="3175">
            <a:noFill/>
          </a:ln>
        </p:spPr>
        <p:txBody>
          <a:bodyPr vert="horz" wrap="square" lIns="91427" tIns="45713" rIns="91427" bIns="45713" numCol="1" anchor="t" anchorCtr="0" compatLnSpc="1">
            <a:prstTxWarp prst="textNoShape">
              <a:avLst/>
            </a:prstTxWarp>
            <a:noAutofit/>
          </a:bodyPr>
          <a:lstStyle/>
          <a:p>
            <a:pPr defTabSz="932563"/>
            <a:endParaRPr lang="en-IN" dirty="0">
              <a:solidFill>
                <a:srgbClr val="505050"/>
              </a:solidFill>
            </a:endParaRPr>
          </a:p>
        </p:txBody>
      </p:sp>
      <p:grpSp>
        <p:nvGrpSpPr>
          <p:cNvPr id="12" name="Group 11"/>
          <p:cNvGrpSpPr/>
          <p:nvPr/>
        </p:nvGrpSpPr>
        <p:grpSpPr>
          <a:xfrm>
            <a:off x="9326508" y="4185409"/>
            <a:ext cx="1106951" cy="1106950"/>
            <a:chOff x="8618618" y="4718304"/>
            <a:chExt cx="1085345" cy="1085344"/>
          </a:xfrm>
        </p:grpSpPr>
        <p:sp>
          <p:nvSpPr>
            <p:cNvPr id="9" name="Oval 8"/>
            <p:cNvSpPr/>
            <p:nvPr/>
          </p:nvSpPr>
          <p:spPr bwMode="auto">
            <a:xfrm>
              <a:off x="8618618" y="4718304"/>
              <a:ext cx="1085345" cy="108534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0" numCol="1" spcCol="0" rtlCol="0" fromWordArt="0" anchor="t" anchorCtr="0" forceAA="0" compatLnSpc="1">
              <a:prstTxWarp prst="textNoShape">
                <a:avLst/>
              </a:prstTxWarp>
              <a:noAutofit/>
            </a:bodyPr>
            <a:lstStyle/>
            <a:p>
              <a:pPr algn="ctr" defTabSz="932293" fontAlgn="base">
                <a:spcBef>
                  <a:spcPct val="0"/>
                </a:spcBef>
                <a:spcAft>
                  <a:spcPct val="0"/>
                </a:spcAft>
              </a:pPr>
              <a:r>
                <a:rPr lang="en-IN" sz="1199" dirty="0">
                  <a:solidFill>
                    <a:srgbClr val="FFFFFF"/>
                  </a:solidFill>
                  <a:latin typeface="Segoe UI Semibold" panose="020B0702040204020203" pitchFamily="34" charset="0"/>
                  <a:ea typeface="Segoe UI" pitchFamily="34" charset="0"/>
                  <a:cs typeface="Segoe UI Semibold" panose="020B0702040204020203" pitchFamily="34" charset="0"/>
                </a:rPr>
                <a:t>Hive</a:t>
              </a:r>
            </a:p>
          </p:txBody>
        </p:sp>
        <p:sp>
          <p:nvSpPr>
            <p:cNvPr id="10" name="Freeform 9"/>
            <p:cNvSpPr>
              <a:spLocks/>
            </p:cNvSpPr>
            <p:nvPr/>
          </p:nvSpPr>
          <p:spPr bwMode="auto">
            <a:xfrm>
              <a:off x="8967355" y="5403212"/>
              <a:ext cx="328975" cy="33685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chemeClr val="bg1"/>
            </a:solidFill>
            <a:ln w="3175" cap="flat">
              <a:noFill/>
              <a:prstDash val="solid"/>
              <a:miter lim="800000"/>
              <a:headEnd/>
              <a:tailEnd/>
            </a:ln>
          </p:spPr>
          <p:txBody>
            <a:bodyPr vert="horz" wrap="square" lIns="91427" tIns="45713" rIns="91427" bIns="45713" numCol="1" anchor="t" anchorCtr="0" compatLnSpc="1">
              <a:prstTxWarp prst="textNoShape">
                <a:avLst/>
              </a:prstTxWarp>
              <a:noAutofit/>
            </a:bodyPr>
            <a:lstStyle/>
            <a:p>
              <a:pPr defTabSz="932563"/>
              <a:endParaRPr lang="en-IN" dirty="0">
                <a:solidFill>
                  <a:srgbClr val="505050"/>
                </a:solidFill>
              </a:endParaRPr>
            </a:p>
          </p:txBody>
        </p:sp>
        <p:sp>
          <p:nvSpPr>
            <p:cNvPr id="11" name="Freeform 10"/>
            <p:cNvSpPr>
              <a:spLocks/>
            </p:cNvSpPr>
            <p:nvPr/>
          </p:nvSpPr>
          <p:spPr bwMode="auto">
            <a:xfrm>
              <a:off x="8766049" y="5124616"/>
              <a:ext cx="603726" cy="434894"/>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chemeClr val="bg1"/>
            </a:solidFill>
            <a:ln w="3175">
              <a:noFill/>
            </a:ln>
          </p:spPr>
          <p:txBody>
            <a:bodyPr vert="horz" wrap="square" lIns="91427" tIns="45713" rIns="91427" bIns="45713" numCol="1" anchor="t" anchorCtr="0" compatLnSpc="1">
              <a:prstTxWarp prst="textNoShape">
                <a:avLst/>
              </a:prstTxWarp>
              <a:noAutofit/>
            </a:bodyPr>
            <a:lstStyle/>
            <a:p>
              <a:pPr defTabSz="932563"/>
              <a:endParaRPr lang="en-IN" dirty="0">
                <a:solidFill>
                  <a:srgbClr val="505050"/>
                </a:solidFill>
              </a:endParaRPr>
            </a:p>
          </p:txBody>
        </p:sp>
      </p:grpSp>
      <p:pic>
        <p:nvPicPr>
          <p:cNvPr id="19" name="Picture 4" descr="http://www.thebhwgroup.com/blog/wp-content/uploads/2014/10/pig-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78522" y="4246606"/>
            <a:ext cx="660879" cy="9938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5"/>
          <a:stretch>
            <a:fillRect/>
          </a:stretch>
        </p:blipFill>
        <p:spPr>
          <a:xfrm>
            <a:off x="7533701" y="4184485"/>
            <a:ext cx="1150956" cy="1055923"/>
          </a:xfrm>
          <a:prstGeom prst="rect">
            <a:avLst/>
          </a:prstGeom>
          <a:solidFill>
            <a:schemeClr val="accent3"/>
          </a:solidFill>
        </p:spPr>
      </p:pic>
      <p:pic>
        <p:nvPicPr>
          <p:cNvPr id="27650" name="Picture 2" descr="https://zeppelin.incubator.apache.org/assets/themes/zeppelin/img/spark_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3723" y="3047202"/>
            <a:ext cx="1045811" cy="1045811"/>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s://www.mapr.com/sites/default/files/squoop-imag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13804" y="5562342"/>
            <a:ext cx="1832331" cy="610778"/>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https://cwiki.apache.org/confluence/download/attachments/30737784/oozie_282x1178.png?version=1&amp;modificationDate=1349284899000&amp;api=v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59721" y="5639260"/>
            <a:ext cx="1908794" cy="456944"/>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flipH="1">
            <a:off x="7915850" y="2040828"/>
            <a:ext cx="4106155" cy="652821"/>
          </a:xfrm>
          <a:prstGeom prst="rect">
            <a:avLst/>
          </a:prstGeom>
          <a:noFill/>
        </p:spPr>
        <p:txBody>
          <a:bodyPr wrap="square" lIns="186521" tIns="93260" rIns="186521" bIns="93260" rtlCol="0">
            <a:noAutofit/>
          </a:bodyPr>
          <a:lstStyle/>
          <a:p>
            <a:pPr>
              <a:lnSpc>
                <a:spcPct val="90000"/>
              </a:lnSpc>
              <a:spcAft>
                <a:spcPts val="612"/>
              </a:spcAft>
            </a:pPr>
            <a:r>
              <a:rPr lang="en-US" sz="1836" dirty="0">
                <a:solidFill>
                  <a:schemeClr val="tx1">
                    <a:lumMod val="65000"/>
                    <a:lumOff val="35000"/>
                  </a:schemeClr>
                </a:solidFill>
              </a:rPr>
              <a:t>In addition to the core, HDInsight supports the Hadoop ecosystem</a:t>
            </a:r>
          </a:p>
        </p:txBody>
      </p:sp>
      <p:pic>
        <p:nvPicPr>
          <p:cNvPr id="27656" name="Picture 8" descr="Apache HBas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46621" y="3382347"/>
            <a:ext cx="1497340" cy="382300"/>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p:cNvSpPr/>
          <p:nvPr/>
        </p:nvSpPr>
        <p:spPr bwMode="auto">
          <a:xfrm>
            <a:off x="8329172" y="3224713"/>
            <a:ext cx="3092989" cy="3028343"/>
          </a:xfrm>
          <a:prstGeom prst="ellipse">
            <a:avLst/>
          </a:prstGeom>
          <a:noFill/>
          <a:ln>
            <a:solidFill>
              <a:schemeClr val="bg1">
                <a:lumMod val="9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 name="Rectangle 1"/>
          <p:cNvSpPr/>
          <p:nvPr/>
        </p:nvSpPr>
        <p:spPr bwMode="auto">
          <a:xfrm>
            <a:off x="7656001" y="2751936"/>
            <a:ext cx="4504994" cy="3778791"/>
          </a:xfrm>
          <a:prstGeom prst="rect">
            <a:avLst/>
          </a:prstGeom>
          <a:no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35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75480" y="369116"/>
            <a:ext cx="11308400" cy="1024684"/>
          </a:xfrm>
        </p:spPr>
        <p:txBody>
          <a:bodyPr/>
          <a:lstStyle/>
          <a:p>
            <a:r>
              <a:rPr lang="en-US" dirty="0">
                <a:solidFill>
                  <a:schemeClr val="tx1"/>
                </a:solidFill>
              </a:rPr>
              <a:t>Benefits of Hadoop as an Azure service</a:t>
            </a:r>
          </a:p>
        </p:txBody>
      </p:sp>
      <p:sp>
        <p:nvSpPr>
          <p:cNvPr id="4" name="TextBox 3"/>
          <p:cNvSpPr txBox="1"/>
          <p:nvPr/>
        </p:nvSpPr>
        <p:spPr>
          <a:xfrm>
            <a:off x="275162" y="1238495"/>
            <a:ext cx="7018491" cy="5008813"/>
          </a:xfrm>
          <a:prstGeom prst="rect">
            <a:avLst/>
          </a:prstGeom>
          <a:noFill/>
        </p:spPr>
        <p:txBody>
          <a:bodyPr wrap="square" lIns="186521" tIns="149217" rIns="186521" bIns="149217" rtlCol="0">
            <a:noAutofit/>
          </a:bodyPr>
          <a:lstStyle/>
          <a:p>
            <a:pPr marL="349724" indent="-349724">
              <a:lnSpc>
                <a:spcPts val="2244"/>
              </a:lnSpc>
              <a:spcAft>
                <a:spcPts val="612"/>
              </a:spcAft>
              <a:buClr>
                <a:schemeClr val="tx1"/>
              </a:buClr>
              <a:buSzPct val="75000"/>
              <a:buFont typeface="Wingdings" panose="05000000000000000000" pitchFamily="2" charset="2"/>
              <a:buChar char="v"/>
            </a:pPr>
            <a:r>
              <a:rPr lang="en-US" sz="1836" dirty="0">
                <a:solidFill>
                  <a:schemeClr val="tx1">
                    <a:lumMod val="65000"/>
                    <a:lumOff val="35000"/>
                  </a:schemeClr>
                </a:solidFill>
              </a:rPr>
              <a:t>HDInsight clusters can be configured in just a few minutes</a:t>
            </a:r>
          </a:p>
          <a:p>
            <a:pPr marL="349724" indent="-349724">
              <a:lnSpc>
                <a:spcPts val="2244"/>
              </a:lnSpc>
              <a:spcAft>
                <a:spcPts val="306"/>
              </a:spcAft>
              <a:buClr>
                <a:schemeClr val="tx1"/>
              </a:buClr>
              <a:buSzPct val="75000"/>
              <a:buFont typeface="Wingdings" panose="05000000000000000000" pitchFamily="2" charset="2"/>
              <a:buChar char="v"/>
            </a:pPr>
            <a:r>
              <a:rPr lang="en-US" sz="1836" dirty="0">
                <a:solidFill>
                  <a:schemeClr val="tx1">
                    <a:lumMod val="65000"/>
                    <a:lumOff val="35000"/>
                  </a:schemeClr>
                </a:solidFill>
              </a:rPr>
              <a:t>Through the HDFS interface, HDInsight can operate directly on data stored in Azure Blob Storage or Azure Data Lake Store (without a separate, dedicated HDFS cluster)</a:t>
            </a:r>
          </a:p>
          <a:p>
            <a:pPr marL="349724" indent="-349724">
              <a:lnSpc>
                <a:spcPts val="2244"/>
              </a:lnSpc>
              <a:spcAft>
                <a:spcPts val="306"/>
              </a:spcAft>
              <a:buClr>
                <a:schemeClr val="tx1"/>
              </a:buClr>
              <a:buSzPct val="75000"/>
              <a:buFont typeface="Wingdings" panose="05000000000000000000" pitchFamily="2" charset="2"/>
              <a:buChar char="v"/>
            </a:pPr>
            <a:r>
              <a:rPr lang="en-US" sz="1836" dirty="0">
                <a:solidFill>
                  <a:schemeClr val="tx1">
                    <a:lumMod val="65000"/>
                    <a:lumOff val="35000"/>
                  </a:schemeClr>
                </a:solidFill>
              </a:rPr>
              <a:t>Benefits include:</a:t>
            </a:r>
          </a:p>
          <a:p>
            <a:pPr marL="816022" lvl="1" indent="-349724">
              <a:lnSpc>
                <a:spcPts val="2244"/>
              </a:lnSpc>
              <a:spcAft>
                <a:spcPts val="306"/>
              </a:spcAft>
              <a:buClr>
                <a:schemeClr val="tx1"/>
              </a:buClr>
              <a:buFont typeface="Wingdings" panose="05000000000000000000" pitchFamily="2" charset="2"/>
              <a:buChar char="v"/>
            </a:pPr>
            <a:r>
              <a:rPr lang="en-US" sz="1632" dirty="0">
                <a:solidFill>
                  <a:schemeClr val="tx1">
                    <a:lumMod val="65000"/>
                    <a:lumOff val="35000"/>
                  </a:schemeClr>
                </a:solidFill>
              </a:rPr>
              <a:t>Data </a:t>
            </a:r>
            <a:r>
              <a:rPr lang="en-US" sz="1632" b="1" dirty="0">
                <a:solidFill>
                  <a:schemeClr val="tx1">
                    <a:lumMod val="65000"/>
                    <a:lumOff val="35000"/>
                  </a:schemeClr>
                </a:solidFill>
              </a:rPr>
              <a:t>reliability</a:t>
            </a:r>
            <a:r>
              <a:rPr lang="en-US" sz="1632" dirty="0">
                <a:solidFill>
                  <a:schemeClr val="tx1">
                    <a:lumMod val="65000"/>
                    <a:lumOff val="35000"/>
                  </a:schemeClr>
                </a:solidFill>
              </a:rPr>
              <a:t>, reuse and sharing</a:t>
            </a:r>
          </a:p>
          <a:p>
            <a:pPr marL="816022" lvl="1" indent="-349724">
              <a:lnSpc>
                <a:spcPts val="2244"/>
              </a:lnSpc>
              <a:spcAft>
                <a:spcPts val="306"/>
              </a:spcAft>
              <a:buClr>
                <a:schemeClr val="tx1"/>
              </a:buClr>
              <a:buFont typeface="Wingdings" panose="05000000000000000000" pitchFamily="2" charset="2"/>
              <a:buChar char="v"/>
            </a:pPr>
            <a:r>
              <a:rPr lang="en-US" sz="1632" dirty="0">
                <a:solidFill>
                  <a:schemeClr val="tx1">
                    <a:lumMod val="65000"/>
                    <a:lumOff val="35000"/>
                  </a:schemeClr>
                </a:solidFill>
              </a:rPr>
              <a:t>Elastic </a:t>
            </a:r>
            <a:r>
              <a:rPr lang="en-US" sz="1632" b="1" dirty="0">
                <a:solidFill>
                  <a:schemeClr val="tx1">
                    <a:lumMod val="65000"/>
                    <a:lumOff val="35000"/>
                  </a:schemeClr>
                </a:solidFill>
              </a:rPr>
              <a:t>scale-out</a:t>
            </a:r>
          </a:p>
          <a:p>
            <a:pPr marL="816022" lvl="1" indent="-349724">
              <a:lnSpc>
                <a:spcPts val="2244"/>
              </a:lnSpc>
              <a:spcAft>
                <a:spcPts val="306"/>
              </a:spcAft>
              <a:buClr>
                <a:schemeClr val="tx1"/>
              </a:buClr>
              <a:buFont typeface="Wingdings" panose="05000000000000000000" pitchFamily="2" charset="2"/>
              <a:buChar char="v"/>
            </a:pPr>
            <a:r>
              <a:rPr lang="en-US" sz="1632" dirty="0">
                <a:solidFill>
                  <a:schemeClr val="tx1">
                    <a:lumMod val="65000"/>
                    <a:lumOff val="35000"/>
                  </a:schemeClr>
                </a:solidFill>
              </a:rPr>
              <a:t>Lower data storage costs</a:t>
            </a:r>
          </a:p>
          <a:p>
            <a:pPr marL="816022" lvl="1" indent="-349724">
              <a:lnSpc>
                <a:spcPts val="2244"/>
              </a:lnSpc>
              <a:spcAft>
                <a:spcPts val="306"/>
              </a:spcAft>
              <a:buClr>
                <a:schemeClr val="tx1"/>
              </a:buClr>
              <a:buFont typeface="Wingdings" panose="05000000000000000000" pitchFamily="2" charset="2"/>
              <a:buChar char="v"/>
            </a:pPr>
            <a:r>
              <a:rPr lang="en-US" sz="1632" b="1" dirty="0">
                <a:solidFill>
                  <a:schemeClr val="tx1">
                    <a:lumMod val="65000"/>
                    <a:lumOff val="35000"/>
                  </a:schemeClr>
                </a:solidFill>
              </a:rPr>
              <a:t>Protection</a:t>
            </a:r>
            <a:r>
              <a:rPr lang="en-US" sz="1632" dirty="0">
                <a:solidFill>
                  <a:schemeClr val="tx1">
                    <a:lumMod val="65000"/>
                    <a:lumOff val="35000"/>
                  </a:schemeClr>
                </a:solidFill>
              </a:rPr>
              <a:t> against data loss </a:t>
            </a:r>
          </a:p>
          <a:p>
            <a:pPr marL="349724" indent="-349724">
              <a:lnSpc>
                <a:spcPts val="2244"/>
              </a:lnSpc>
              <a:spcAft>
                <a:spcPts val="612"/>
              </a:spcAft>
              <a:buClr>
                <a:schemeClr val="tx1"/>
              </a:buClr>
              <a:buSzPct val="75000"/>
              <a:buFont typeface="Wingdings" panose="05000000000000000000" pitchFamily="2" charset="2"/>
              <a:buChar char="v"/>
            </a:pPr>
            <a:r>
              <a:rPr lang="en-US" sz="1836" b="1" dirty="0">
                <a:solidFill>
                  <a:schemeClr val="tx1">
                    <a:lumMod val="65000"/>
                    <a:lumOff val="35000"/>
                  </a:schemeClr>
                </a:solidFill>
              </a:rPr>
              <a:t>High performance</a:t>
            </a:r>
            <a:r>
              <a:rPr lang="en-US" sz="1836" dirty="0">
                <a:solidFill>
                  <a:schemeClr val="tx1">
                    <a:lumMod val="65000"/>
                    <a:lumOff val="35000"/>
                  </a:schemeClr>
                </a:solidFill>
              </a:rPr>
              <a:t>: The high-speed flat networks in Azure datacenters provide fast access between virtual machines in the cluster and Azure Blob Storage or Azure Data Lake Store, so data movement is very efficient</a:t>
            </a:r>
          </a:p>
          <a:p>
            <a:pPr marL="349724" indent="-349724">
              <a:lnSpc>
                <a:spcPts val="2244"/>
              </a:lnSpc>
              <a:spcAft>
                <a:spcPts val="612"/>
              </a:spcAft>
              <a:buClr>
                <a:schemeClr val="tx1"/>
              </a:buClr>
              <a:buSzPct val="75000"/>
              <a:buFont typeface="Wingdings" panose="05000000000000000000" pitchFamily="2" charset="2"/>
              <a:buChar char="v"/>
            </a:pPr>
            <a:r>
              <a:rPr lang="en-US" sz="1836" dirty="0">
                <a:solidFill>
                  <a:schemeClr val="tx1">
                    <a:lumMod val="65000"/>
                    <a:lumOff val="35000"/>
                  </a:schemeClr>
                </a:solidFill>
              </a:rPr>
              <a:t>Commission and decommission HDInsight clusters at will</a:t>
            </a:r>
          </a:p>
          <a:p>
            <a:pPr marL="349724" indent="-349724">
              <a:lnSpc>
                <a:spcPts val="2244"/>
              </a:lnSpc>
              <a:spcAft>
                <a:spcPts val="612"/>
              </a:spcAft>
              <a:buClr>
                <a:schemeClr val="tx1"/>
              </a:buClr>
              <a:buSzPct val="75000"/>
              <a:buFont typeface="Wingdings" panose="05000000000000000000" pitchFamily="2" charset="2"/>
              <a:buChar char="v"/>
            </a:pPr>
            <a:r>
              <a:rPr lang="en-US" sz="1836" dirty="0">
                <a:solidFill>
                  <a:schemeClr val="tx1">
                    <a:lumMod val="65000"/>
                    <a:lumOff val="35000"/>
                  </a:schemeClr>
                </a:solidFill>
              </a:rPr>
              <a:t>Visualize data stored in Hive tables using Excel, </a:t>
            </a:r>
            <a:r>
              <a:rPr lang="en-US" sz="1836" dirty="0" err="1">
                <a:solidFill>
                  <a:schemeClr val="tx1">
                    <a:lumMod val="65000"/>
                    <a:lumOff val="35000"/>
                  </a:schemeClr>
                </a:solidFill>
              </a:rPr>
              <a:t>PowerBI</a:t>
            </a:r>
            <a:r>
              <a:rPr lang="en-US" sz="1836" dirty="0">
                <a:solidFill>
                  <a:schemeClr val="tx1">
                    <a:lumMod val="65000"/>
                    <a:lumOff val="35000"/>
                  </a:schemeClr>
                </a:solidFill>
              </a:rPr>
              <a:t> and add-ins: </a:t>
            </a:r>
            <a:r>
              <a:rPr lang="en-US" sz="1836" i="1" dirty="0">
                <a:solidFill>
                  <a:schemeClr val="tx1">
                    <a:lumMod val="65000"/>
                    <a:lumOff val="35000"/>
                  </a:schemeClr>
                </a:solidFill>
              </a:rPr>
              <a:t>Power Query</a:t>
            </a:r>
            <a:r>
              <a:rPr lang="en-US" sz="1836" dirty="0">
                <a:solidFill>
                  <a:schemeClr val="tx1">
                    <a:lumMod val="65000"/>
                    <a:lumOff val="35000"/>
                  </a:schemeClr>
                </a:solidFill>
              </a:rPr>
              <a:t>, </a:t>
            </a:r>
            <a:r>
              <a:rPr lang="en-US" sz="1836" i="1" dirty="0">
                <a:solidFill>
                  <a:schemeClr val="tx1">
                    <a:lumMod val="65000"/>
                    <a:lumOff val="35000"/>
                  </a:schemeClr>
                </a:solidFill>
              </a:rPr>
              <a:t>Power View</a:t>
            </a:r>
            <a:r>
              <a:rPr lang="en-US" sz="1836" dirty="0">
                <a:solidFill>
                  <a:schemeClr val="tx1">
                    <a:lumMod val="65000"/>
                    <a:lumOff val="35000"/>
                  </a:schemeClr>
                </a:solidFill>
              </a:rPr>
              <a:t>, </a:t>
            </a:r>
            <a:r>
              <a:rPr lang="en-US" sz="1836" i="1" dirty="0">
                <a:solidFill>
                  <a:schemeClr val="tx1">
                    <a:lumMod val="65000"/>
                    <a:lumOff val="35000"/>
                  </a:schemeClr>
                </a:solidFill>
              </a:rPr>
              <a:t>PowerPivot</a:t>
            </a:r>
            <a:r>
              <a:rPr lang="en-US" sz="1836" dirty="0">
                <a:solidFill>
                  <a:schemeClr val="tx1">
                    <a:lumMod val="65000"/>
                    <a:lumOff val="35000"/>
                  </a:schemeClr>
                </a:solidFill>
              </a:rPr>
              <a:t>, and </a:t>
            </a:r>
            <a:r>
              <a:rPr lang="en-US" sz="1836" i="1" dirty="0">
                <a:solidFill>
                  <a:schemeClr val="tx1">
                    <a:lumMod val="65000"/>
                    <a:lumOff val="35000"/>
                  </a:schemeClr>
                </a:solidFill>
              </a:rPr>
              <a:t>Power Map</a:t>
            </a:r>
            <a:endParaRPr lang="en-US" sz="1836" dirty="0">
              <a:solidFill>
                <a:schemeClr val="tx1">
                  <a:lumMod val="65000"/>
                  <a:lumOff val="35000"/>
                </a:schemeClr>
              </a:solidFill>
            </a:endParaRPr>
          </a:p>
        </p:txBody>
      </p:sp>
      <p:grpSp>
        <p:nvGrpSpPr>
          <p:cNvPr id="6" name="Group 5"/>
          <p:cNvGrpSpPr/>
          <p:nvPr/>
        </p:nvGrpSpPr>
        <p:grpSpPr>
          <a:xfrm>
            <a:off x="7020967" y="2234600"/>
            <a:ext cx="5009157" cy="3547131"/>
            <a:chOff x="6883062" y="2190983"/>
            <a:chExt cx="4911384" cy="3477895"/>
          </a:xfrm>
        </p:grpSpPr>
        <p:sp>
          <p:nvSpPr>
            <p:cNvPr id="7" name="Rectangle 6"/>
            <p:cNvSpPr/>
            <p:nvPr/>
          </p:nvSpPr>
          <p:spPr bwMode="auto">
            <a:xfrm>
              <a:off x="6998511" y="2190983"/>
              <a:ext cx="4795935" cy="347789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grpSp>
          <p:nvGrpSpPr>
            <p:cNvPr id="8" name="Group 7"/>
            <p:cNvGrpSpPr/>
            <p:nvPr/>
          </p:nvGrpSpPr>
          <p:grpSpPr>
            <a:xfrm>
              <a:off x="7158014" y="2492813"/>
              <a:ext cx="1393998" cy="1383195"/>
              <a:chOff x="7392850" y="2492814"/>
              <a:chExt cx="1159161" cy="1208036"/>
            </a:xfrm>
          </p:grpSpPr>
          <p:sp>
            <p:nvSpPr>
              <p:cNvPr id="46" name="Rectangle 45"/>
              <p:cNvSpPr/>
              <p:nvPr/>
            </p:nvSpPr>
            <p:spPr bwMode="auto">
              <a:xfrm>
                <a:off x="7400438" y="2522179"/>
                <a:ext cx="1151573" cy="114766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47" name="TextBox 46"/>
              <p:cNvSpPr txBox="1"/>
              <p:nvPr/>
            </p:nvSpPr>
            <p:spPr>
              <a:xfrm>
                <a:off x="7530211" y="2492814"/>
                <a:ext cx="914400" cy="297620"/>
              </a:xfrm>
              <a:prstGeom prst="rect">
                <a:avLst/>
              </a:prstGeom>
              <a:noFill/>
            </p:spPr>
            <p:txBody>
              <a:bodyPr wrap="none" lIns="186521" tIns="149217" rIns="186521" bIns="149217" rtlCol="0">
                <a:noAutofit/>
              </a:bodyPr>
              <a:lstStyle/>
              <a:p>
                <a:pPr algn="ctr">
                  <a:lnSpc>
                    <a:spcPct val="50000"/>
                  </a:lnSpc>
                  <a:spcAft>
                    <a:spcPts val="612"/>
                  </a:spcAft>
                </a:pPr>
                <a:r>
                  <a:rPr lang="en-US" sz="918" b="1" dirty="0">
                    <a:solidFill>
                      <a:schemeClr val="bg1"/>
                    </a:solidFill>
                  </a:rPr>
                  <a:t>Master</a:t>
                </a:r>
              </a:p>
            </p:txBody>
          </p:sp>
          <p:pic>
            <p:nvPicPr>
              <p:cNvPr id="48" name="Picture 47" descr="Hadoop clusters in HDInsight access and store big data in cost-effective, scalable Hadoop-compatible Azure Blob storage in the cloud."/>
              <p:cNvPicPr/>
              <p:nvPr/>
            </p:nvPicPr>
            <p:blipFill rotWithShape="1">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49" name="TextBox 48"/>
              <p:cNvSpPr txBox="1"/>
              <p:nvPr/>
            </p:nvSpPr>
            <p:spPr>
              <a:xfrm>
                <a:off x="7392850" y="3460537"/>
                <a:ext cx="621141" cy="240313"/>
              </a:xfrm>
              <a:prstGeom prst="rect">
                <a:avLst/>
              </a:prstGeom>
              <a:noFill/>
            </p:spPr>
            <p:txBody>
              <a:bodyPr wrap="none" lIns="186521" tIns="149217" rIns="186521" bIns="149217" rtlCol="0">
                <a:noAutofit/>
              </a:bodyPr>
              <a:lstStyle/>
              <a:p>
                <a:pPr algn="ctr">
                  <a:lnSpc>
                    <a:spcPct val="50000"/>
                  </a:lnSpc>
                  <a:spcAft>
                    <a:spcPts val="612"/>
                  </a:spcAft>
                </a:pPr>
                <a:r>
                  <a:rPr lang="en-US" sz="918" dirty="0">
                    <a:solidFill>
                      <a:schemeClr val="bg1"/>
                    </a:solidFill>
                  </a:rPr>
                  <a:t>DFS</a:t>
                </a:r>
              </a:p>
            </p:txBody>
          </p:sp>
          <p:sp>
            <p:nvSpPr>
              <p:cNvPr id="50" name="TextBox 49"/>
              <p:cNvSpPr txBox="1"/>
              <p:nvPr/>
            </p:nvSpPr>
            <p:spPr>
              <a:xfrm>
                <a:off x="7952798" y="3201765"/>
                <a:ext cx="546977" cy="210738"/>
              </a:xfrm>
              <a:prstGeom prst="rect">
                <a:avLst/>
              </a:prstGeom>
              <a:solidFill>
                <a:srgbClr val="008DB5"/>
              </a:solidFill>
            </p:spPr>
            <p:txBody>
              <a:bodyPr wrap="none" lIns="186521" tIns="149217" rIns="186521" bIns="149217" rtlCol="0" anchor="ctr">
                <a:noAutofit/>
              </a:bodyPr>
              <a:lstStyle/>
              <a:p>
                <a:pPr algn="ctr">
                  <a:lnSpc>
                    <a:spcPct val="50000"/>
                  </a:lnSpc>
                  <a:spcAft>
                    <a:spcPts val="612"/>
                  </a:spcAft>
                </a:pPr>
                <a:r>
                  <a:rPr lang="en-US" sz="918" dirty="0">
                    <a:solidFill>
                      <a:schemeClr val="bg1"/>
                    </a:solidFill>
                  </a:rPr>
                  <a:t>WebHDFS</a:t>
                </a:r>
              </a:p>
            </p:txBody>
          </p:sp>
          <p:cxnSp>
            <p:nvCxnSpPr>
              <p:cNvPr id="51" name="Straight Arrow Connector 50"/>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8226287" y="2920969"/>
                <a:ext cx="2555" cy="28079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553739" y="2753827"/>
                <a:ext cx="808340" cy="224016"/>
              </a:xfrm>
              <a:prstGeom prst="rect">
                <a:avLst/>
              </a:prstGeom>
              <a:solidFill>
                <a:schemeClr val="accent2">
                  <a:lumMod val="60000"/>
                  <a:lumOff val="40000"/>
                </a:schemeClr>
              </a:solidFill>
            </p:spPr>
            <p:txBody>
              <a:bodyPr wrap="none" lIns="186521" tIns="149217" rIns="186521" bIns="149217" rtlCol="0" anchor="ctr">
                <a:noAutofit/>
              </a:bodyPr>
              <a:lstStyle/>
              <a:p>
                <a:pPr algn="ctr">
                  <a:lnSpc>
                    <a:spcPct val="50000"/>
                  </a:lnSpc>
                  <a:spcAft>
                    <a:spcPts val="612"/>
                  </a:spcAft>
                </a:pPr>
                <a:r>
                  <a:rPr lang="en-US" sz="918" dirty="0">
                    <a:solidFill>
                      <a:schemeClr val="tx1">
                        <a:lumMod val="85000"/>
                        <a:lumOff val="15000"/>
                      </a:schemeClr>
                    </a:solidFill>
                  </a:rPr>
                  <a:t>HFDS API</a:t>
                </a:r>
              </a:p>
            </p:txBody>
          </p:sp>
        </p:grpSp>
        <p:grpSp>
          <p:nvGrpSpPr>
            <p:cNvPr id="9" name="Group 8"/>
            <p:cNvGrpSpPr/>
            <p:nvPr/>
          </p:nvGrpSpPr>
          <p:grpSpPr>
            <a:xfrm>
              <a:off x="8626954" y="2484267"/>
              <a:ext cx="1362135" cy="1369039"/>
              <a:chOff x="7392850" y="2475587"/>
              <a:chExt cx="1159161" cy="1225263"/>
            </a:xfrm>
          </p:grpSpPr>
          <p:sp>
            <p:nvSpPr>
              <p:cNvPr id="39" name="Rectangle 38"/>
              <p:cNvSpPr/>
              <p:nvPr/>
            </p:nvSpPr>
            <p:spPr bwMode="auto">
              <a:xfrm>
                <a:off x="7400438" y="2522179"/>
                <a:ext cx="1151573" cy="114766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40" name="TextBox 39"/>
              <p:cNvSpPr txBox="1"/>
              <p:nvPr/>
            </p:nvSpPr>
            <p:spPr>
              <a:xfrm>
                <a:off x="7528459" y="2475587"/>
                <a:ext cx="914400" cy="297620"/>
              </a:xfrm>
              <a:prstGeom prst="rect">
                <a:avLst/>
              </a:prstGeom>
              <a:noFill/>
            </p:spPr>
            <p:txBody>
              <a:bodyPr wrap="none" lIns="186521" tIns="149217" rIns="186521" bIns="149217" rtlCol="0">
                <a:noAutofit/>
              </a:bodyPr>
              <a:lstStyle/>
              <a:p>
                <a:pPr algn="ctr">
                  <a:lnSpc>
                    <a:spcPct val="50000"/>
                  </a:lnSpc>
                  <a:spcAft>
                    <a:spcPts val="612"/>
                  </a:spcAft>
                </a:pPr>
                <a:r>
                  <a:rPr lang="en-US" sz="918" b="1" dirty="0">
                    <a:solidFill>
                      <a:schemeClr val="bg1"/>
                    </a:solidFill>
                  </a:rPr>
                  <a:t>Worker node</a:t>
                </a:r>
              </a:p>
            </p:txBody>
          </p:sp>
          <p:pic>
            <p:nvPicPr>
              <p:cNvPr id="41" name="Picture 40" descr="Hadoop clusters in HDInsight access and store big data in cost-effective, scalable Hadoop-compatible Azure Blob storage in the cloud."/>
              <p:cNvPicPr/>
              <p:nvPr/>
            </p:nvPicPr>
            <p:blipFill rotWithShape="1">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42" name="TextBox 41"/>
              <p:cNvSpPr txBox="1"/>
              <p:nvPr/>
            </p:nvSpPr>
            <p:spPr>
              <a:xfrm>
                <a:off x="7392850" y="3460537"/>
                <a:ext cx="621141" cy="240313"/>
              </a:xfrm>
              <a:prstGeom prst="rect">
                <a:avLst/>
              </a:prstGeom>
              <a:noFill/>
            </p:spPr>
            <p:txBody>
              <a:bodyPr wrap="none" lIns="186521" tIns="149217" rIns="186521" bIns="149217" rtlCol="0">
                <a:noAutofit/>
              </a:bodyPr>
              <a:lstStyle/>
              <a:p>
                <a:pPr algn="ctr">
                  <a:lnSpc>
                    <a:spcPct val="50000"/>
                  </a:lnSpc>
                  <a:spcAft>
                    <a:spcPts val="612"/>
                  </a:spcAft>
                </a:pPr>
                <a:r>
                  <a:rPr lang="en-US" sz="918" dirty="0">
                    <a:solidFill>
                      <a:schemeClr val="bg1"/>
                    </a:solidFill>
                  </a:rPr>
                  <a:t>DFS</a:t>
                </a:r>
              </a:p>
            </p:txBody>
          </p:sp>
          <p:sp>
            <p:nvSpPr>
              <p:cNvPr id="43" name="TextBox 42"/>
              <p:cNvSpPr txBox="1"/>
              <p:nvPr/>
            </p:nvSpPr>
            <p:spPr>
              <a:xfrm>
                <a:off x="7952798" y="3201766"/>
                <a:ext cx="546977" cy="210738"/>
              </a:xfrm>
              <a:prstGeom prst="rect">
                <a:avLst/>
              </a:prstGeom>
              <a:solidFill>
                <a:srgbClr val="008DB5"/>
              </a:solidFill>
            </p:spPr>
            <p:txBody>
              <a:bodyPr wrap="none" lIns="186521" tIns="149217" rIns="186521" bIns="149217" rtlCol="0" anchor="ctr">
                <a:noAutofit/>
              </a:bodyPr>
              <a:lstStyle/>
              <a:p>
                <a:pPr algn="ctr">
                  <a:lnSpc>
                    <a:spcPct val="50000"/>
                  </a:lnSpc>
                  <a:spcAft>
                    <a:spcPts val="612"/>
                  </a:spcAft>
                </a:pPr>
                <a:r>
                  <a:rPr lang="en-US" sz="918" dirty="0">
                    <a:solidFill>
                      <a:schemeClr val="bg1"/>
                    </a:solidFill>
                  </a:rPr>
                  <a:t>WebHDFS</a:t>
                </a:r>
              </a:p>
            </p:txBody>
          </p:sp>
          <p:cxnSp>
            <p:nvCxnSpPr>
              <p:cNvPr id="44" name="Straight Arrow Connector 43"/>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7553739" y="2753393"/>
                <a:ext cx="808340" cy="224016"/>
              </a:xfrm>
              <a:prstGeom prst="rect">
                <a:avLst/>
              </a:prstGeom>
              <a:solidFill>
                <a:schemeClr val="accent2">
                  <a:lumMod val="60000"/>
                  <a:lumOff val="40000"/>
                </a:schemeClr>
              </a:solidFill>
            </p:spPr>
            <p:txBody>
              <a:bodyPr wrap="none" lIns="186521" tIns="149217" rIns="186521" bIns="149217" rtlCol="0" anchor="ctr">
                <a:noAutofit/>
              </a:bodyPr>
              <a:lstStyle/>
              <a:p>
                <a:pPr algn="ctr">
                  <a:lnSpc>
                    <a:spcPct val="50000"/>
                  </a:lnSpc>
                  <a:spcAft>
                    <a:spcPts val="612"/>
                  </a:spcAft>
                </a:pPr>
                <a:r>
                  <a:rPr lang="en-US" sz="918" dirty="0">
                    <a:solidFill>
                      <a:schemeClr val="tx1">
                        <a:lumMod val="85000"/>
                        <a:lumOff val="15000"/>
                      </a:schemeClr>
                    </a:solidFill>
                  </a:rPr>
                  <a:t>HFDS API</a:t>
                </a:r>
              </a:p>
            </p:txBody>
          </p:sp>
        </p:grpSp>
        <p:grpSp>
          <p:nvGrpSpPr>
            <p:cNvPr id="10" name="Group 9"/>
            <p:cNvGrpSpPr/>
            <p:nvPr/>
          </p:nvGrpSpPr>
          <p:grpSpPr>
            <a:xfrm>
              <a:off x="10257269" y="2502043"/>
              <a:ext cx="1315131" cy="1338464"/>
              <a:chOff x="7392850" y="2486358"/>
              <a:chExt cx="1159161" cy="1246168"/>
            </a:xfrm>
          </p:grpSpPr>
          <p:sp>
            <p:nvSpPr>
              <p:cNvPr id="32" name="Rectangle 31"/>
              <p:cNvSpPr/>
              <p:nvPr/>
            </p:nvSpPr>
            <p:spPr bwMode="auto">
              <a:xfrm>
                <a:off x="7400438" y="2522179"/>
                <a:ext cx="1151573" cy="1210347"/>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33" name="TextBox 32"/>
              <p:cNvSpPr txBox="1"/>
              <p:nvPr/>
            </p:nvSpPr>
            <p:spPr>
              <a:xfrm>
                <a:off x="7519024" y="2486358"/>
                <a:ext cx="914400" cy="297620"/>
              </a:xfrm>
              <a:prstGeom prst="rect">
                <a:avLst/>
              </a:prstGeom>
              <a:noFill/>
            </p:spPr>
            <p:txBody>
              <a:bodyPr wrap="none" lIns="186521" tIns="149217" rIns="186521" bIns="149217" rtlCol="0">
                <a:noAutofit/>
              </a:bodyPr>
              <a:lstStyle/>
              <a:p>
                <a:pPr algn="ctr">
                  <a:lnSpc>
                    <a:spcPct val="50000"/>
                  </a:lnSpc>
                  <a:spcAft>
                    <a:spcPts val="612"/>
                  </a:spcAft>
                </a:pPr>
                <a:r>
                  <a:rPr lang="en-US" sz="918" b="1" dirty="0">
                    <a:solidFill>
                      <a:schemeClr val="bg1"/>
                    </a:solidFill>
                  </a:rPr>
                  <a:t>Worker node</a:t>
                </a:r>
              </a:p>
            </p:txBody>
          </p:sp>
          <p:pic>
            <p:nvPicPr>
              <p:cNvPr id="34" name="Picture 33" descr="Hadoop clusters in HDInsight access and store big data in cost-effective, scalable Hadoop-compatible Azure Blob storage in the cloud."/>
              <p:cNvPicPr/>
              <p:nvPr/>
            </p:nvPicPr>
            <p:blipFill rotWithShape="1">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35" name="TextBox 34"/>
              <p:cNvSpPr txBox="1"/>
              <p:nvPr/>
            </p:nvSpPr>
            <p:spPr>
              <a:xfrm>
                <a:off x="7392850" y="3460537"/>
                <a:ext cx="621141" cy="240313"/>
              </a:xfrm>
              <a:prstGeom prst="rect">
                <a:avLst/>
              </a:prstGeom>
              <a:noFill/>
            </p:spPr>
            <p:txBody>
              <a:bodyPr wrap="none" lIns="186521" tIns="149217" rIns="186521" bIns="149217" rtlCol="0">
                <a:noAutofit/>
              </a:bodyPr>
              <a:lstStyle/>
              <a:p>
                <a:pPr algn="ctr">
                  <a:lnSpc>
                    <a:spcPct val="50000"/>
                  </a:lnSpc>
                  <a:spcAft>
                    <a:spcPts val="612"/>
                  </a:spcAft>
                </a:pPr>
                <a:r>
                  <a:rPr lang="en-US" sz="918" dirty="0">
                    <a:solidFill>
                      <a:schemeClr val="bg1"/>
                    </a:solidFill>
                  </a:rPr>
                  <a:t>DFS</a:t>
                </a:r>
              </a:p>
            </p:txBody>
          </p:sp>
          <p:sp>
            <p:nvSpPr>
              <p:cNvPr id="36" name="TextBox 35"/>
              <p:cNvSpPr txBox="1"/>
              <p:nvPr/>
            </p:nvSpPr>
            <p:spPr>
              <a:xfrm>
                <a:off x="7952798" y="3201765"/>
                <a:ext cx="546977" cy="210738"/>
              </a:xfrm>
              <a:prstGeom prst="rect">
                <a:avLst/>
              </a:prstGeom>
              <a:solidFill>
                <a:srgbClr val="008DB5"/>
              </a:solidFill>
            </p:spPr>
            <p:txBody>
              <a:bodyPr wrap="none" lIns="0" tIns="0" rIns="0" bIns="0" rtlCol="0" anchor="ctr">
                <a:noAutofit/>
              </a:bodyPr>
              <a:lstStyle/>
              <a:p>
                <a:pPr algn="ctr">
                  <a:lnSpc>
                    <a:spcPct val="50000"/>
                  </a:lnSpc>
                  <a:spcAft>
                    <a:spcPts val="612"/>
                  </a:spcAft>
                </a:pPr>
                <a:r>
                  <a:rPr lang="en-US" sz="918" dirty="0">
                    <a:solidFill>
                      <a:schemeClr val="bg1"/>
                    </a:solidFill>
                  </a:rPr>
                  <a:t>WebHDFS</a:t>
                </a:r>
              </a:p>
            </p:txBody>
          </p:sp>
          <p:cxnSp>
            <p:nvCxnSpPr>
              <p:cNvPr id="37" name="Straight Arrow Connector 36"/>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553739" y="2752669"/>
                <a:ext cx="808340" cy="224016"/>
              </a:xfrm>
              <a:prstGeom prst="rect">
                <a:avLst/>
              </a:prstGeom>
              <a:solidFill>
                <a:schemeClr val="accent2">
                  <a:lumMod val="60000"/>
                  <a:lumOff val="40000"/>
                </a:schemeClr>
              </a:solidFill>
            </p:spPr>
            <p:txBody>
              <a:bodyPr wrap="none" lIns="186521" tIns="149217" rIns="186521" bIns="149217" rtlCol="0" anchor="ctr">
                <a:noAutofit/>
              </a:bodyPr>
              <a:lstStyle/>
              <a:p>
                <a:pPr algn="ctr">
                  <a:lnSpc>
                    <a:spcPct val="50000"/>
                  </a:lnSpc>
                  <a:spcAft>
                    <a:spcPts val="612"/>
                  </a:spcAft>
                </a:pPr>
                <a:r>
                  <a:rPr lang="en-US" sz="918" dirty="0">
                    <a:solidFill>
                      <a:schemeClr val="tx1">
                        <a:lumMod val="85000"/>
                        <a:lumOff val="15000"/>
                      </a:schemeClr>
                    </a:solidFill>
                  </a:rPr>
                  <a:t>HFDS API</a:t>
                </a:r>
              </a:p>
            </p:txBody>
          </p:sp>
        </p:grpSp>
        <p:cxnSp>
          <p:nvCxnSpPr>
            <p:cNvPr id="11" name="Straight Connector 10"/>
            <p:cNvCxnSpPr/>
            <p:nvPr/>
          </p:nvCxnSpPr>
          <p:spPr>
            <a:xfrm flipV="1">
              <a:off x="7088046" y="4207732"/>
              <a:ext cx="4556917" cy="3527"/>
            </a:xfrm>
            <a:prstGeom prst="line">
              <a:avLst/>
            </a:prstGeom>
            <a:ln>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Hadoop clusters in HDInsight access and store big data in cost-effective, scalable Hadoop-compatible Azure Blob storage in the cloud."/>
            <p:cNvPicPr/>
            <p:nvPr/>
          </p:nvPicPr>
          <p:blipFill rotWithShape="1">
            <a:blip r:embed="rId5">
              <a:extLst>
                <a:ext uri="{28A0092B-C50C-407E-A947-70E740481C1C}">
                  <a14:useLocalDpi xmlns:a14="http://schemas.microsoft.com/office/drawing/2010/main" val="0"/>
                </a:ext>
              </a:extLst>
            </a:blip>
            <a:srcRect l="82696" t="62153" r="2052" b="11473"/>
            <a:stretch/>
          </p:blipFill>
          <p:spPr bwMode="auto">
            <a:xfrm>
              <a:off x="10896540" y="4572460"/>
              <a:ext cx="634826" cy="727592"/>
            </a:xfrm>
            <a:prstGeom prst="rect">
              <a:avLst/>
            </a:prstGeom>
            <a:noFill/>
            <a:ln>
              <a:noFill/>
            </a:ln>
          </p:spPr>
        </p:pic>
        <p:pic>
          <p:nvPicPr>
            <p:cNvPr id="13" name="Picture 12" descr="Hadoop clusters in HDInsight access and store big data in cost-effective, scalable Hadoop-compatible Azure Blob storage in the cloud."/>
            <p:cNvPicPr/>
            <p:nvPr/>
          </p:nvPicPr>
          <p:blipFill rotWithShape="1">
            <a:blip r:embed="rId5">
              <a:extLst>
                <a:ext uri="{28A0092B-C50C-407E-A947-70E740481C1C}">
                  <a14:useLocalDpi xmlns:a14="http://schemas.microsoft.com/office/drawing/2010/main" val="0"/>
                </a:ext>
              </a:extLst>
            </a:blip>
            <a:srcRect l="82696" t="62153" r="2052" b="11473"/>
            <a:stretch/>
          </p:blipFill>
          <p:spPr bwMode="auto">
            <a:xfrm>
              <a:off x="9778413" y="4565578"/>
              <a:ext cx="634826" cy="727592"/>
            </a:xfrm>
            <a:prstGeom prst="rect">
              <a:avLst/>
            </a:prstGeom>
            <a:noFill/>
            <a:ln>
              <a:noFill/>
            </a:ln>
          </p:spPr>
        </p:pic>
        <p:pic>
          <p:nvPicPr>
            <p:cNvPr id="14" name="Picture 13" descr="Hadoop clusters in HDInsight access and store big data in cost-effective, scalable Hadoop-compatible Azure Blob storage in the cloud."/>
            <p:cNvPicPr/>
            <p:nvPr/>
          </p:nvPicPr>
          <p:blipFill rotWithShape="1">
            <a:blip r:embed="rId5">
              <a:extLst>
                <a:ext uri="{28A0092B-C50C-407E-A947-70E740481C1C}">
                  <a14:useLocalDpi xmlns:a14="http://schemas.microsoft.com/office/drawing/2010/main" val="0"/>
                </a:ext>
              </a:extLst>
            </a:blip>
            <a:srcRect l="82696" t="62153" r="2052" b="11473"/>
            <a:stretch/>
          </p:blipFill>
          <p:spPr bwMode="auto">
            <a:xfrm>
              <a:off x="8612413" y="4542982"/>
              <a:ext cx="634826" cy="727592"/>
            </a:xfrm>
            <a:prstGeom prst="rect">
              <a:avLst/>
            </a:prstGeom>
            <a:noFill/>
            <a:ln>
              <a:noFill/>
            </a:ln>
          </p:spPr>
        </p:pic>
        <p:cxnSp>
          <p:nvCxnSpPr>
            <p:cNvPr id="15" name="Elbow Connector 14"/>
            <p:cNvCxnSpPr/>
            <p:nvPr/>
          </p:nvCxnSpPr>
          <p:spPr>
            <a:xfrm>
              <a:off x="9257812" y="4309796"/>
              <a:ext cx="1935520" cy="206655"/>
            </a:xfrm>
            <a:prstGeom prst="bentConnector2">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8875381" y="4309796"/>
              <a:ext cx="1188720" cy="200500"/>
            </a:xfrm>
            <a:prstGeom prst="bentConnector3">
              <a:avLst>
                <a:gd name="adj1" fmla="val 100017"/>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8874996" y="4324322"/>
              <a:ext cx="0" cy="19212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8297457" y="3435604"/>
              <a:ext cx="731520" cy="1005840"/>
            </a:xfrm>
            <a:prstGeom prst="bentConnector3">
              <a:avLst>
                <a:gd name="adj1" fmla="val 59117"/>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43" idx="2"/>
            </p:cNvCxnSpPr>
            <p:nvPr/>
          </p:nvCxnSpPr>
          <p:spPr>
            <a:xfrm>
              <a:off x="9606329" y="3531124"/>
              <a:ext cx="3003" cy="77867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rot="5400000">
              <a:off x="10598936" y="3664610"/>
              <a:ext cx="888615" cy="401760"/>
            </a:xfrm>
            <a:prstGeom prst="bentConnector3">
              <a:avLst>
                <a:gd name="adj1" fmla="val 66933"/>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054035" y="2209943"/>
              <a:ext cx="2312419" cy="253413"/>
            </a:xfrm>
            <a:prstGeom prst="rect">
              <a:avLst/>
            </a:prstGeom>
            <a:noFill/>
          </p:spPr>
          <p:txBody>
            <a:bodyPr wrap="none" lIns="186521" tIns="149217" rIns="186521" bIns="149217" rtlCol="0">
              <a:noAutofit/>
            </a:bodyPr>
            <a:lstStyle/>
            <a:p>
              <a:pPr>
                <a:lnSpc>
                  <a:spcPct val="50000"/>
                </a:lnSpc>
                <a:spcAft>
                  <a:spcPts val="612"/>
                </a:spcAft>
              </a:pPr>
              <a:r>
                <a:rPr lang="en-US" sz="1122" b="1" dirty="0">
                  <a:solidFill>
                    <a:schemeClr val="tx1">
                      <a:lumMod val="85000"/>
                      <a:lumOff val="15000"/>
                    </a:schemeClr>
                  </a:solidFill>
                </a:rPr>
                <a:t>HDInsight cluster </a:t>
              </a:r>
            </a:p>
          </p:txBody>
        </p:sp>
        <p:sp>
          <p:nvSpPr>
            <p:cNvPr id="22" name="TextBox 21"/>
            <p:cNvSpPr txBox="1"/>
            <p:nvPr/>
          </p:nvSpPr>
          <p:spPr>
            <a:xfrm>
              <a:off x="6883062" y="4206969"/>
              <a:ext cx="1700683" cy="253413"/>
            </a:xfrm>
            <a:prstGeom prst="rect">
              <a:avLst/>
            </a:prstGeom>
            <a:noFill/>
          </p:spPr>
          <p:txBody>
            <a:bodyPr wrap="none" lIns="186521" tIns="149217" rIns="186521" bIns="149217" rtlCol="0">
              <a:noAutofit/>
            </a:bodyPr>
            <a:lstStyle/>
            <a:p>
              <a:pPr>
                <a:lnSpc>
                  <a:spcPct val="50000"/>
                </a:lnSpc>
                <a:spcAft>
                  <a:spcPts val="612"/>
                </a:spcAft>
              </a:pPr>
              <a:r>
                <a:rPr lang="en-US" sz="1071" b="1" dirty="0">
                  <a:solidFill>
                    <a:schemeClr val="tx1">
                      <a:lumMod val="85000"/>
                      <a:lumOff val="15000"/>
                    </a:schemeClr>
                  </a:solidFill>
                </a:rPr>
                <a:t>Azure Data Lake storage </a:t>
              </a:r>
            </a:p>
          </p:txBody>
        </p:sp>
        <p:sp>
          <p:nvSpPr>
            <p:cNvPr id="23" name="TextBox 22"/>
            <p:cNvSpPr txBox="1"/>
            <p:nvPr/>
          </p:nvSpPr>
          <p:spPr>
            <a:xfrm>
              <a:off x="8360945" y="5190887"/>
              <a:ext cx="1156210" cy="398840"/>
            </a:xfrm>
            <a:prstGeom prst="rect">
              <a:avLst/>
            </a:prstGeom>
            <a:noFill/>
          </p:spPr>
          <p:txBody>
            <a:bodyPr wrap="none" lIns="186521" tIns="149217" rIns="186521" bIns="149217" rtlCol="0">
              <a:noAutofit/>
            </a:bodyPr>
            <a:lstStyle/>
            <a:p>
              <a:pPr algn="ctr">
                <a:lnSpc>
                  <a:spcPct val="50000"/>
                </a:lnSpc>
                <a:spcAft>
                  <a:spcPts val="612"/>
                </a:spcAft>
              </a:pPr>
              <a:r>
                <a:rPr lang="en-US" sz="918" dirty="0"/>
                <a:t>Container 1</a:t>
              </a:r>
            </a:p>
          </p:txBody>
        </p:sp>
        <p:sp>
          <p:nvSpPr>
            <p:cNvPr id="24" name="TextBox 23"/>
            <p:cNvSpPr txBox="1"/>
            <p:nvPr/>
          </p:nvSpPr>
          <p:spPr>
            <a:xfrm>
              <a:off x="9742152" y="5190887"/>
              <a:ext cx="743011" cy="398840"/>
            </a:xfrm>
            <a:prstGeom prst="rect">
              <a:avLst/>
            </a:prstGeom>
            <a:noFill/>
          </p:spPr>
          <p:txBody>
            <a:bodyPr wrap="none" lIns="186521" tIns="149217" rIns="186521" bIns="149217" rtlCol="0">
              <a:noAutofit/>
            </a:bodyPr>
            <a:lstStyle/>
            <a:p>
              <a:pPr algn="ctr">
                <a:lnSpc>
                  <a:spcPct val="50000"/>
                </a:lnSpc>
                <a:spcAft>
                  <a:spcPts val="612"/>
                </a:spcAft>
              </a:pPr>
              <a:r>
                <a:rPr lang="en-US" sz="918" dirty="0"/>
                <a:t>Container 2</a:t>
              </a:r>
              <a:endParaRPr lang="en-US" sz="918" b="1" dirty="0">
                <a:solidFill>
                  <a:schemeClr val="bg1"/>
                </a:solidFill>
              </a:endParaRPr>
            </a:p>
          </p:txBody>
        </p:sp>
        <p:sp>
          <p:nvSpPr>
            <p:cNvPr id="25" name="TextBox 24"/>
            <p:cNvSpPr txBox="1"/>
            <p:nvPr/>
          </p:nvSpPr>
          <p:spPr>
            <a:xfrm>
              <a:off x="10842363" y="5210208"/>
              <a:ext cx="743011" cy="398840"/>
            </a:xfrm>
            <a:prstGeom prst="rect">
              <a:avLst/>
            </a:prstGeom>
            <a:noFill/>
          </p:spPr>
          <p:txBody>
            <a:bodyPr wrap="none" lIns="186521" tIns="149217" rIns="186521" bIns="149217" rtlCol="0">
              <a:noAutofit/>
            </a:bodyPr>
            <a:lstStyle/>
            <a:p>
              <a:pPr algn="ctr">
                <a:lnSpc>
                  <a:spcPct val="50000"/>
                </a:lnSpc>
                <a:spcAft>
                  <a:spcPts val="612"/>
                </a:spcAft>
              </a:pPr>
              <a:r>
                <a:rPr lang="en-US" sz="918" dirty="0"/>
                <a:t>Container 3</a:t>
              </a:r>
              <a:endParaRPr lang="en-US" sz="918" b="1" dirty="0">
                <a:solidFill>
                  <a:schemeClr val="bg1"/>
                </a:solidFill>
              </a:endParaRPr>
            </a:p>
          </p:txBody>
        </p:sp>
        <p:sp>
          <p:nvSpPr>
            <p:cNvPr id="26" name="Oval 25"/>
            <p:cNvSpPr/>
            <p:nvPr/>
          </p:nvSpPr>
          <p:spPr bwMode="auto">
            <a:xfrm flipV="1">
              <a:off x="10527197"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7" name="Oval 26"/>
            <p:cNvSpPr/>
            <p:nvPr/>
          </p:nvSpPr>
          <p:spPr bwMode="auto">
            <a:xfrm flipV="1">
              <a:off x="10637820"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8" name="Oval 27"/>
            <p:cNvSpPr/>
            <p:nvPr/>
          </p:nvSpPr>
          <p:spPr bwMode="auto">
            <a:xfrm flipV="1">
              <a:off x="10751206"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cxnSp>
          <p:nvCxnSpPr>
            <p:cNvPr id="29" name="Straight Arrow Connector 28"/>
            <p:cNvCxnSpPr/>
            <p:nvPr/>
          </p:nvCxnSpPr>
          <p:spPr>
            <a:xfrm flipH="1">
              <a:off x="9608930" y="3034965"/>
              <a:ext cx="3073" cy="27432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1248486" y="3036641"/>
              <a:ext cx="3073" cy="22860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0016411" y="3032862"/>
              <a:ext cx="199650" cy="355753"/>
            </a:xfrm>
            <a:prstGeom prst="rect">
              <a:avLst/>
            </a:prstGeom>
            <a:noFill/>
          </p:spPr>
          <p:txBody>
            <a:bodyPr wrap="none" lIns="0" tIns="0" rIns="0" bIns="0" rtlCol="0">
              <a:noAutofit/>
            </a:bodyPr>
            <a:lstStyle/>
            <a:p>
              <a:pPr>
                <a:lnSpc>
                  <a:spcPct val="90000"/>
                </a:lnSpc>
                <a:spcAft>
                  <a:spcPts val="612"/>
                </a:spcAft>
              </a:pPr>
              <a:r>
                <a:rPr lang="en-US" sz="1836" b="1" dirty="0">
                  <a:solidFill>
                    <a:schemeClr val="bg1"/>
                  </a:solidFill>
                </a:rPr>
                <a:t>…</a:t>
              </a:r>
            </a:p>
          </p:txBody>
        </p:sp>
      </p:grpSp>
    </p:spTree>
    <p:extLst>
      <p:ext uri="{BB962C8B-B14F-4D97-AF65-F5344CB8AC3E}">
        <p14:creationId xmlns:p14="http://schemas.microsoft.com/office/powerpoint/2010/main" val="281560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4122801" y="1125266"/>
            <a:ext cx="3832549" cy="5321664"/>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pic>
        <p:nvPicPr>
          <p:cNvPr id="7" name="Picture 2" descr="C:\Users\v-abb\Dropbox\SQL Server 14\Resources\bb1be64e-7318-465f-b470-54f58299ef6f\MSMEA12_Hana_Salman_02.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7966492" y="3464610"/>
            <a:ext cx="3751974" cy="29208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75785" y="3464611"/>
            <a:ext cx="3753072" cy="2923078"/>
          </a:xfrm>
          <a:prstGeom prst="rect">
            <a:avLst/>
          </a:prstGeom>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114725" y="3464611"/>
            <a:ext cx="3757651" cy="2923080"/>
          </a:xfrm>
          <a:prstGeom prst="rect">
            <a:avLst/>
          </a:prstGeom>
        </p:spPr>
      </p:pic>
      <p:sp useBgFill="1">
        <p:nvSpPr>
          <p:cNvPr id="9" name="Rectangle 8"/>
          <p:cNvSpPr/>
          <p:nvPr/>
        </p:nvSpPr>
        <p:spPr bwMode="auto">
          <a:xfrm>
            <a:off x="-30484" y="495"/>
            <a:ext cx="12434711" cy="346192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3" name="Text Placeholder 2"/>
          <p:cNvSpPr>
            <a:spLocks noGrp="1"/>
          </p:cNvSpPr>
          <p:nvPr>
            <p:ph type="body" sz="quarter" idx="13"/>
          </p:nvPr>
        </p:nvSpPr>
        <p:spPr>
          <a:xfrm>
            <a:off x="120046" y="281684"/>
            <a:ext cx="10971244" cy="1024684"/>
          </a:xfrm>
        </p:spPr>
        <p:txBody>
          <a:bodyPr/>
          <a:lstStyle/>
          <a:p>
            <a:r>
              <a:rPr lang="en-US" dirty="0">
                <a:solidFill>
                  <a:schemeClr val="tx1"/>
                </a:solidFill>
              </a:rPr>
              <a:t>Azure HDInsight positioning</a:t>
            </a:r>
          </a:p>
        </p:txBody>
      </p:sp>
      <p:sp>
        <p:nvSpPr>
          <p:cNvPr id="4" name="Rectangle 3"/>
          <p:cNvSpPr/>
          <p:nvPr/>
        </p:nvSpPr>
        <p:spPr bwMode="auto">
          <a:xfrm>
            <a:off x="275786" y="1213174"/>
            <a:ext cx="3752899" cy="22514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100% Apache Hadoop</a:t>
            </a:r>
          </a:p>
        </p:txBody>
      </p:sp>
      <p:sp>
        <p:nvSpPr>
          <p:cNvPr id="6" name="Rectangle 5"/>
          <p:cNvSpPr/>
          <p:nvPr/>
        </p:nvSpPr>
        <p:spPr bwMode="auto">
          <a:xfrm>
            <a:off x="7966493" y="1213174"/>
            <a:ext cx="3754378" cy="22514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Immersive insights</a:t>
            </a:r>
          </a:p>
        </p:txBody>
      </p:sp>
      <p:sp>
        <p:nvSpPr>
          <p:cNvPr id="5" name="Rectangle 4"/>
          <p:cNvSpPr/>
          <p:nvPr/>
        </p:nvSpPr>
        <p:spPr bwMode="auto">
          <a:xfrm>
            <a:off x="4120402" y="1213174"/>
            <a:ext cx="3751974" cy="2251437"/>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Powered by </a:t>
            </a:r>
            <a:br>
              <a:rPr lang="en-US" sz="3599" dirty="0">
                <a:ln>
                  <a:solidFill>
                    <a:srgbClr val="FFFFFF">
                      <a:alpha val="0"/>
                    </a:srgbClr>
                  </a:solidFill>
                </a:ln>
                <a:solidFill>
                  <a:srgbClr val="FFFFFF"/>
                </a:solidFill>
                <a:latin typeface="Segoe UI Light"/>
                <a:ea typeface="Segoe UI" pitchFamily="34" charset="0"/>
                <a:cs typeface="Segoe UI" pitchFamily="34" charset="0"/>
              </a:rPr>
            </a:br>
            <a:r>
              <a:rPr lang="en-US" sz="3599" dirty="0">
                <a:ln>
                  <a:solidFill>
                    <a:srgbClr val="FFFFFF">
                      <a:alpha val="0"/>
                    </a:srgbClr>
                  </a:solidFill>
                </a:ln>
                <a:solidFill>
                  <a:srgbClr val="FFFFFF"/>
                </a:solidFill>
                <a:latin typeface="Segoe UI Light"/>
                <a:ea typeface="Segoe UI" pitchFamily="34" charset="0"/>
                <a:cs typeface="Segoe UI" pitchFamily="34" charset="0"/>
              </a:rPr>
              <a:t>the cloud</a:t>
            </a:r>
          </a:p>
        </p:txBody>
      </p:sp>
      <p:sp>
        <p:nvSpPr>
          <p:cNvPr id="11" name="Rectangle 10"/>
          <p:cNvSpPr/>
          <p:nvPr/>
        </p:nvSpPr>
        <p:spPr bwMode="auto">
          <a:xfrm>
            <a:off x="7955351" y="1213174"/>
            <a:ext cx="3832549" cy="517451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4114725" y="1213175"/>
            <a:ext cx="3832549" cy="521913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045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12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4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4" grpId="0" animBg="1"/>
      <p:bldP spid="6" grpId="0" animBg="1"/>
      <p:bldP spid="5" grpId="0" animBg="1"/>
      <p:bldP spid="11" grpId="0" animBg="1"/>
      <p:bldP spid="1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rmAutofit fontScale="77500" lnSpcReduction="20000"/>
          </a:bodyPr>
          <a:lstStyle/>
          <a:p>
            <a:r>
              <a:rPr lang="en-US" sz="5507" dirty="0">
                <a:solidFill>
                  <a:schemeClr val="tx1"/>
                </a:solidFill>
              </a:rPr>
              <a:t>Microsoft + Hortonworks</a:t>
            </a:r>
            <a:r>
              <a:rPr lang="en-US" sz="5507" dirty="0"/>
              <a:t/>
            </a:r>
            <a:br>
              <a:rPr lang="en-US" sz="5507" dirty="0"/>
            </a:br>
            <a:r>
              <a:rPr lang="en-US" sz="4488" dirty="0">
                <a:gradFill>
                  <a:gsLst>
                    <a:gs pos="100000">
                      <a:schemeClr val="tx1"/>
                    </a:gs>
                    <a:gs pos="0">
                      <a:schemeClr val="tx1"/>
                    </a:gs>
                  </a:gsLst>
                  <a:lin ang="0" scaled="1"/>
                </a:gradFill>
                <a:latin typeface="Segoe UI Light" panose="020B0502040204020203" pitchFamily="34" charset="0"/>
                <a:cs typeface="Segoe UI Light" panose="020B0502040204020203" pitchFamily="34" charset="0"/>
              </a:rPr>
              <a:t>Promoting open Hadoop</a:t>
            </a:r>
            <a:endParaRPr lang="en-US" dirty="0"/>
          </a:p>
        </p:txBody>
      </p:sp>
      <p:sp>
        <p:nvSpPr>
          <p:cNvPr id="9" name="Text Placeholder 2"/>
          <p:cNvSpPr txBox="1">
            <a:spLocks/>
          </p:cNvSpPr>
          <p:nvPr/>
        </p:nvSpPr>
        <p:spPr>
          <a:xfrm>
            <a:off x="297830" y="3497261"/>
            <a:ext cx="4750984" cy="3697904"/>
          </a:xfrm>
          <a:prstGeom prst="rect">
            <a:avLst/>
          </a:prstGeom>
        </p:spPr>
        <p:txBody>
          <a:bodyPr lIns="182854" tIns="146283" rIns="182854" bIns="146283"/>
          <a:lstStyle>
            <a:lvl1pPr marL="342863" indent="-342863" algn="l" defTabSz="91430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1" indent="-285719" algn="l" defTabSz="91430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79" indent="-228576" algn="l" defTabSz="91430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30"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4pPr>
            <a:lvl5pPr marL="2057181"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5pPr>
            <a:lvl6pPr marL="2514333"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971484"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28636"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885787"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marL="0" indent="0">
              <a:buNone/>
            </a:pPr>
            <a:r>
              <a:rPr lang="en-US" sz="3535" dirty="0">
                <a:gradFill>
                  <a:gsLst>
                    <a:gs pos="100000">
                      <a:srgbClr val="000000"/>
                    </a:gs>
                    <a:gs pos="0">
                      <a:srgbClr val="000000"/>
                    </a:gs>
                  </a:gsLst>
                  <a:lin ang="0" scaled="1"/>
                </a:gradFill>
                <a:latin typeface="Segoe UI Light" panose="020B0502040204020203" pitchFamily="34" charset="0"/>
                <a:cs typeface="Segoe UI Light" panose="020B0502040204020203" pitchFamily="34" charset="0"/>
              </a:rPr>
              <a:t>Engineering alignment</a:t>
            </a:r>
          </a:p>
          <a:p>
            <a:pPr marL="0" indent="0">
              <a:buNone/>
            </a:pPr>
            <a:r>
              <a:rPr lang="en-US" sz="3535" dirty="0">
                <a:gradFill>
                  <a:gsLst>
                    <a:gs pos="100000">
                      <a:srgbClr val="000000"/>
                    </a:gs>
                    <a:gs pos="0">
                      <a:srgbClr val="000000"/>
                    </a:gs>
                  </a:gsLst>
                  <a:lin ang="0" scaled="1"/>
                </a:gradFill>
                <a:latin typeface="Segoe UI Light" panose="020B0502040204020203" pitchFamily="34" charset="0"/>
                <a:cs typeface="Segoe UI Light" panose="020B0502040204020203" pitchFamily="34" charset="0"/>
              </a:rPr>
              <a:t>Corporate alignment</a:t>
            </a:r>
          </a:p>
          <a:p>
            <a:pPr marL="0" indent="0">
              <a:buNone/>
            </a:pPr>
            <a:r>
              <a:rPr lang="en-US" sz="3535" dirty="0">
                <a:gradFill>
                  <a:gsLst>
                    <a:gs pos="100000">
                      <a:srgbClr val="000000"/>
                    </a:gs>
                    <a:gs pos="0">
                      <a:srgbClr val="000000"/>
                    </a:gs>
                  </a:gsLst>
                  <a:lin ang="0" scaled="1"/>
                </a:gradFill>
                <a:latin typeface="Segoe UI Light" panose="020B0502040204020203" pitchFamily="34" charset="0"/>
                <a:cs typeface="Segoe UI Light" panose="020B0502040204020203" pitchFamily="34" charset="0"/>
              </a:rPr>
              <a:t>Field alignment</a:t>
            </a:r>
          </a:p>
        </p:txBody>
      </p:sp>
      <p:sp>
        <p:nvSpPr>
          <p:cNvPr id="17" name="Rectangle 16"/>
          <p:cNvSpPr/>
          <p:nvPr/>
        </p:nvSpPr>
        <p:spPr bwMode="auto">
          <a:xfrm>
            <a:off x="6218238" y="3497262"/>
            <a:ext cx="6217356" cy="3496767"/>
          </a:xfrm>
          <a:prstGeom prst="rect">
            <a:avLst/>
          </a:prstGeom>
          <a:solidFill>
            <a:srgbClr val="92D050"/>
          </a:solidFill>
          <a:ln w="38100" cap="flat" cmpd="sng" algn="ctr">
            <a:noFill/>
            <a:prstDash val="solid"/>
            <a:headEnd type="none" w="med" len="med"/>
            <a:tailEnd type="none" w="med" len="med"/>
          </a:ln>
          <a:effectLst/>
        </p:spPr>
        <p:txBody>
          <a:bodyPr vert="horz" wrap="square" lIns="124330" tIns="124330" rIns="124330" bIns="190207" numCol="1" rtlCol="0" anchor="ctr" anchorCtr="0" compatLnSpc="1">
            <a:prstTxWarp prst="textNoShape">
              <a:avLst/>
            </a:prstTxWarp>
          </a:bodyPr>
          <a:lstStyle/>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6466" y="4427005"/>
            <a:ext cx="4300900" cy="1637278"/>
          </a:xfrm>
          <a:prstGeom prst="rect">
            <a:avLst/>
          </a:prstGeom>
        </p:spPr>
      </p:pic>
      <p:grpSp>
        <p:nvGrpSpPr>
          <p:cNvPr id="7" name="Group 6"/>
          <p:cNvGrpSpPr/>
          <p:nvPr/>
        </p:nvGrpSpPr>
        <p:grpSpPr>
          <a:xfrm>
            <a:off x="6218238" y="495"/>
            <a:ext cx="6217356" cy="3496767"/>
            <a:chOff x="6218237" y="-1"/>
            <a:chExt cx="6218237" cy="3497263"/>
          </a:xfrm>
        </p:grpSpPr>
        <p:sp>
          <p:nvSpPr>
            <p:cNvPr id="14" name="Rectangle 13"/>
            <p:cNvSpPr/>
            <p:nvPr/>
          </p:nvSpPr>
          <p:spPr bwMode="auto">
            <a:xfrm>
              <a:off x="6218237" y="-1"/>
              <a:ext cx="6218237" cy="3497263"/>
            </a:xfrm>
            <a:prstGeom prst="rect">
              <a:avLst/>
            </a:prstGeom>
            <a:solidFill>
              <a:srgbClr val="0070C0"/>
            </a:solidFill>
            <a:ln w="38100" cap="flat" cmpd="sng" algn="ctr">
              <a:noFill/>
              <a:prstDash val="solid"/>
              <a:headEnd type="none" w="med" len="med"/>
              <a:tailEnd type="none" w="med" len="med"/>
            </a:ln>
            <a:effectLst/>
          </p:spPr>
          <p:txBody>
            <a:bodyPr vert="horz" wrap="square" lIns="124330" tIns="124330" rIns="124330" bIns="190207" numCol="1" rtlCol="0" anchor="ctr" anchorCtr="0" compatLnSpc="1">
              <a:prstTxWarp prst="textNoShape">
                <a:avLst/>
              </a:prstTxWarp>
            </a:bodyPr>
            <a:lstStyle/>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p:txBody>
        </p:sp>
        <p:pic>
          <p:nvPicPr>
            <p:cNvPr id="19" name="Picture 1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7470699" y="1350908"/>
              <a:ext cx="3713312" cy="795445"/>
            </a:xfrm>
            <a:prstGeom prst="rect">
              <a:avLst/>
            </a:prstGeom>
          </p:spPr>
        </p:pic>
      </p:grpSp>
      <p:sp>
        <p:nvSpPr>
          <p:cNvPr id="12" name="Freeform 5"/>
          <p:cNvSpPr>
            <a:spLocks noEditPoints="1"/>
          </p:cNvSpPr>
          <p:nvPr/>
        </p:nvSpPr>
        <p:spPr bwMode="auto">
          <a:xfrm>
            <a:off x="8600171" y="2856553"/>
            <a:ext cx="1453489" cy="1281421"/>
          </a:xfrm>
          <a:custGeom>
            <a:avLst/>
            <a:gdLst>
              <a:gd name="T0" fmla="*/ 1325 w 2468"/>
              <a:gd name="T1" fmla="*/ 1659 h 2176"/>
              <a:gd name="T2" fmla="*/ 1127 w 2468"/>
              <a:gd name="T3" fmla="*/ 1659 h 2176"/>
              <a:gd name="T4" fmla="*/ 1127 w 2468"/>
              <a:gd name="T5" fmla="*/ 1202 h 2176"/>
              <a:gd name="T6" fmla="*/ 686 w 2468"/>
              <a:gd name="T7" fmla="*/ 1202 h 2176"/>
              <a:gd name="T8" fmla="*/ 686 w 2468"/>
              <a:gd name="T9" fmla="*/ 1005 h 2176"/>
              <a:gd name="T10" fmla="*/ 1127 w 2468"/>
              <a:gd name="T11" fmla="*/ 1005 h 2176"/>
              <a:gd name="T12" fmla="*/ 1127 w 2468"/>
              <a:gd name="T13" fmla="*/ 548 h 2176"/>
              <a:gd name="T14" fmla="*/ 1325 w 2468"/>
              <a:gd name="T15" fmla="*/ 548 h 2176"/>
              <a:gd name="T16" fmla="*/ 1325 w 2468"/>
              <a:gd name="T17" fmla="*/ 1005 h 2176"/>
              <a:gd name="T18" fmla="*/ 1782 w 2468"/>
              <a:gd name="T19" fmla="*/ 1005 h 2176"/>
              <a:gd name="T20" fmla="*/ 1782 w 2468"/>
              <a:gd name="T21" fmla="*/ 1202 h 2176"/>
              <a:gd name="T22" fmla="*/ 1325 w 2468"/>
              <a:gd name="T23" fmla="*/ 1202 h 2176"/>
              <a:gd name="T24" fmla="*/ 1325 w 2468"/>
              <a:gd name="T25" fmla="*/ 1659 h 2176"/>
              <a:gd name="T26" fmla="*/ 1325 w 2468"/>
              <a:gd name="T27" fmla="*/ 1659 h 2176"/>
              <a:gd name="T28" fmla="*/ 1889 w 2468"/>
              <a:gd name="T29" fmla="*/ 1963 h 2176"/>
              <a:gd name="T30" fmla="*/ 1234 w 2468"/>
              <a:gd name="T31" fmla="*/ 2176 h 2176"/>
              <a:gd name="T32" fmla="*/ 366 w 2468"/>
              <a:gd name="T33" fmla="*/ 1750 h 2176"/>
              <a:gd name="T34" fmla="*/ 564 w 2468"/>
              <a:gd name="T35" fmla="*/ 213 h 2176"/>
              <a:gd name="T36" fmla="*/ 1234 w 2468"/>
              <a:gd name="T37" fmla="*/ 0 h 2176"/>
              <a:gd name="T38" fmla="*/ 2102 w 2468"/>
              <a:gd name="T39" fmla="*/ 426 h 2176"/>
              <a:gd name="T40" fmla="*/ 1889 w 2468"/>
              <a:gd name="T41" fmla="*/ 1963 h 2176"/>
              <a:gd name="T42" fmla="*/ 1980 w 2468"/>
              <a:gd name="T43" fmla="*/ 518 h 2176"/>
              <a:gd name="T44" fmla="*/ 1234 w 2468"/>
              <a:gd name="T45" fmla="*/ 137 h 2176"/>
              <a:gd name="T46" fmla="*/ 655 w 2468"/>
              <a:gd name="T47" fmla="*/ 335 h 2176"/>
              <a:gd name="T48" fmla="*/ 472 w 2468"/>
              <a:gd name="T49" fmla="*/ 1659 h 2176"/>
              <a:gd name="T50" fmla="*/ 1234 w 2468"/>
              <a:gd name="T51" fmla="*/ 2039 h 2176"/>
              <a:gd name="T52" fmla="*/ 1813 w 2468"/>
              <a:gd name="T53" fmla="*/ 1841 h 2176"/>
              <a:gd name="T54" fmla="*/ 1980 w 2468"/>
              <a:gd name="T55" fmla="*/ 51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8" h="2176">
                <a:moveTo>
                  <a:pt x="1325" y="1659"/>
                </a:moveTo>
                <a:cubicBezTo>
                  <a:pt x="1127" y="1659"/>
                  <a:pt x="1127" y="1659"/>
                  <a:pt x="1127" y="1659"/>
                </a:cubicBezTo>
                <a:cubicBezTo>
                  <a:pt x="1127" y="1202"/>
                  <a:pt x="1127" y="1202"/>
                  <a:pt x="1127" y="1202"/>
                </a:cubicBezTo>
                <a:cubicBezTo>
                  <a:pt x="686" y="1202"/>
                  <a:pt x="686" y="1202"/>
                  <a:pt x="686" y="1202"/>
                </a:cubicBezTo>
                <a:cubicBezTo>
                  <a:pt x="686" y="1005"/>
                  <a:pt x="686" y="1005"/>
                  <a:pt x="686" y="1005"/>
                </a:cubicBezTo>
                <a:cubicBezTo>
                  <a:pt x="1127" y="1005"/>
                  <a:pt x="1127" y="1005"/>
                  <a:pt x="1127" y="1005"/>
                </a:cubicBezTo>
                <a:cubicBezTo>
                  <a:pt x="1127" y="548"/>
                  <a:pt x="1127" y="548"/>
                  <a:pt x="1127" y="548"/>
                </a:cubicBezTo>
                <a:cubicBezTo>
                  <a:pt x="1325" y="548"/>
                  <a:pt x="1325" y="548"/>
                  <a:pt x="1325" y="548"/>
                </a:cubicBezTo>
                <a:cubicBezTo>
                  <a:pt x="1325" y="1005"/>
                  <a:pt x="1325" y="1005"/>
                  <a:pt x="1325" y="1005"/>
                </a:cubicBezTo>
                <a:cubicBezTo>
                  <a:pt x="1782" y="1005"/>
                  <a:pt x="1782" y="1005"/>
                  <a:pt x="1782" y="1005"/>
                </a:cubicBezTo>
                <a:cubicBezTo>
                  <a:pt x="1782" y="1202"/>
                  <a:pt x="1782" y="1202"/>
                  <a:pt x="1782" y="1202"/>
                </a:cubicBezTo>
                <a:cubicBezTo>
                  <a:pt x="1325" y="1202"/>
                  <a:pt x="1325" y="1202"/>
                  <a:pt x="1325" y="1202"/>
                </a:cubicBezTo>
                <a:cubicBezTo>
                  <a:pt x="1325" y="1659"/>
                  <a:pt x="1325" y="1659"/>
                  <a:pt x="1325" y="1659"/>
                </a:cubicBezTo>
                <a:cubicBezTo>
                  <a:pt x="1325" y="1659"/>
                  <a:pt x="1325" y="1659"/>
                  <a:pt x="1325" y="1659"/>
                </a:cubicBezTo>
                <a:close/>
                <a:moveTo>
                  <a:pt x="1889" y="1963"/>
                </a:moveTo>
                <a:cubicBezTo>
                  <a:pt x="1691" y="2115"/>
                  <a:pt x="1462" y="2176"/>
                  <a:pt x="1234" y="2176"/>
                </a:cubicBezTo>
                <a:cubicBezTo>
                  <a:pt x="899" y="2176"/>
                  <a:pt x="579" y="2039"/>
                  <a:pt x="366" y="1750"/>
                </a:cubicBezTo>
                <a:cubicBezTo>
                  <a:pt x="0" y="1278"/>
                  <a:pt x="92" y="579"/>
                  <a:pt x="564" y="213"/>
                </a:cubicBezTo>
                <a:cubicBezTo>
                  <a:pt x="762" y="61"/>
                  <a:pt x="1005" y="0"/>
                  <a:pt x="1234" y="0"/>
                </a:cubicBezTo>
                <a:cubicBezTo>
                  <a:pt x="1554" y="0"/>
                  <a:pt x="1889" y="137"/>
                  <a:pt x="2102" y="426"/>
                </a:cubicBezTo>
                <a:cubicBezTo>
                  <a:pt x="2468" y="913"/>
                  <a:pt x="2376" y="1598"/>
                  <a:pt x="1889" y="1963"/>
                </a:cubicBezTo>
                <a:close/>
                <a:moveTo>
                  <a:pt x="1980" y="518"/>
                </a:moveTo>
                <a:cubicBezTo>
                  <a:pt x="1813" y="274"/>
                  <a:pt x="1523" y="137"/>
                  <a:pt x="1234" y="137"/>
                </a:cubicBezTo>
                <a:cubicBezTo>
                  <a:pt x="1021" y="137"/>
                  <a:pt x="823" y="213"/>
                  <a:pt x="655" y="335"/>
                </a:cubicBezTo>
                <a:cubicBezTo>
                  <a:pt x="244" y="655"/>
                  <a:pt x="152" y="1248"/>
                  <a:pt x="472" y="1659"/>
                </a:cubicBezTo>
                <a:cubicBezTo>
                  <a:pt x="655" y="1902"/>
                  <a:pt x="929" y="2039"/>
                  <a:pt x="1234" y="2039"/>
                </a:cubicBezTo>
                <a:cubicBezTo>
                  <a:pt x="1447" y="2039"/>
                  <a:pt x="1645" y="1978"/>
                  <a:pt x="1813" y="1841"/>
                </a:cubicBezTo>
                <a:cubicBezTo>
                  <a:pt x="2224" y="1522"/>
                  <a:pt x="2300" y="928"/>
                  <a:pt x="1980" y="518"/>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56099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 name="Text Placeholder 2"/>
          <p:cNvSpPr>
            <a:spLocks noGrp="1"/>
          </p:cNvSpPr>
          <p:nvPr>
            <p:ph type="body" sz="quarter" idx="13"/>
          </p:nvPr>
        </p:nvSpPr>
        <p:spPr>
          <a:xfrm>
            <a:off x="613951" y="1225154"/>
            <a:ext cx="10971244" cy="1024684"/>
          </a:xfrm>
        </p:spPr>
        <p:txBody>
          <a:bodyPr/>
          <a:lstStyle/>
          <a:p>
            <a:r>
              <a:rPr lang="en-US" dirty="0">
                <a:solidFill>
                  <a:schemeClr val="accent2"/>
                </a:solidFill>
              </a:rPr>
              <a:t>Customer choice</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Managed and supported by Microsoft</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Reuse of common tools, documentation, samples from Hadoop/Linux ecosystem</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Open source analytics with industry-leading SLA</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Enterprise-grade security and monitoring</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Integration with analytics and BI tools</a:t>
            </a:r>
          </a:p>
        </p:txBody>
      </p:sp>
      <p:sp>
        <p:nvSpPr>
          <p:cNvPr id="2" name="Title 1"/>
          <p:cNvSpPr>
            <a:spLocks noGrp="1"/>
          </p:cNvSpPr>
          <p:nvPr>
            <p:ph type="title" idx="4294967295"/>
          </p:nvPr>
        </p:nvSpPr>
        <p:spPr>
          <a:xfrm>
            <a:off x="546520" y="296296"/>
            <a:ext cx="11889073" cy="918031"/>
          </a:xfrm>
        </p:spPr>
        <p:txBody>
          <a:bodyPr>
            <a:normAutofit fontScale="90000"/>
          </a:bodyPr>
          <a:lstStyle/>
          <a:p>
            <a:r>
              <a:rPr lang="en-US" dirty="0"/>
              <a:t>HDInsight: Optimized for the Cloud</a:t>
            </a:r>
          </a:p>
        </p:txBody>
      </p:sp>
      <p:sp>
        <p:nvSpPr>
          <p:cNvPr id="216" name="Rectangle 215"/>
          <p:cNvSpPr/>
          <p:nvPr/>
        </p:nvSpPr>
        <p:spPr>
          <a:xfrm>
            <a:off x="1315239" y="4303752"/>
            <a:ext cx="3901595" cy="871154"/>
          </a:xfrm>
          <a:prstGeom prst="rect">
            <a:avLst/>
          </a:prstGeom>
          <a:noFill/>
          <a:ln w="44450" cap="flat" cmpd="sng" algn="ctr">
            <a:solidFill>
              <a:srgbClr val="0072C6"/>
            </a:solidFill>
            <a:prstDash val="solid"/>
          </a:ln>
          <a:effectLst/>
        </p:spPr>
        <p:txBody>
          <a:bodyPr wrap="square" lIns="179260" tIns="134445" rIns="179260" bIns="134445"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2745" kern="0" dirty="0">
              <a:gradFill>
                <a:gsLst>
                  <a:gs pos="6299">
                    <a:srgbClr val="FFFFFF"/>
                  </a:gs>
                  <a:gs pos="28000">
                    <a:srgbClr val="FFFFFF"/>
                  </a:gs>
                </a:gsLst>
                <a:lin ang="5400000" scaled="0"/>
              </a:gradFill>
              <a:latin typeface="Segoe UI Light"/>
            </a:endParaRPr>
          </a:p>
        </p:txBody>
      </p:sp>
      <p:pic>
        <p:nvPicPr>
          <p:cNvPr id="219" name="Picture 218"/>
          <p:cNvPicPr>
            <a:picLocks noChangeAspect="1"/>
          </p:cNvPicPr>
          <p:nvPr/>
        </p:nvPicPr>
        <p:blipFill rotWithShape="1">
          <a:blip r:embed="rId3" cstate="email">
            <a:extLst>
              <a:ext uri="{28A0092B-C50C-407E-A947-70E740481C1C}">
                <a14:useLocalDpi xmlns:a14="http://schemas.microsoft.com/office/drawing/2010/main" val="0"/>
              </a:ext>
            </a:extLst>
          </a:blip>
          <a:srcRect t="21607" b="23108"/>
          <a:stretch/>
        </p:blipFill>
        <p:spPr>
          <a:xfrm>
            <a:off x="2477831" y="4360753"/>
            <a:ext cx="2166998" cy="757152"/>
          </a:xfrm>
          <a:prstGeom prst="rect">
            <a:avLst/>
          </a:prstGeom>
        </p:spPr>
      </p:pic>
      <p:sp>
        <p:nvSpPr>
          <p:cNvPr id="222" name="Freeform 221"/>
          <p:cNvSpPr>
            <a:spLocks/>
          </p:cNvSpPr>
          <p:nvPr/>
        </p:nvSpPr>
        <p:spPr bwMode="auto">
          <a:xfrm>
            <a:off x="167921" y="4429461"/>
            <a:ext cx="2193185" cy="149088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87"/>
            <a:endParaRPr lang="en-US" dirty="0">
              <a:solidFill>
                <a:srgbClr val="000000"/>
              </a:solidFill>
            </a:endParaRPr>
          </a:p>
        </p:txBody>
      </p:sp>
      <p:sp>
        <p:nvSpPr>
          <p:cNvPr id="223" name="Freeform 222"/>
          <p:cNvSpPr>
            <a:spLocks noEditPoints="1"/>
          </p:cNvSpPr>
          <p:nvPr/>
        </p:nvSpPr>
        <p:spPr bwMode="auto">
          <a:xfrm>
            <a:off x="557089" y="4764488"/>
            <a:ext cx="1312774" cy="988820"/>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19050" cap="flat" cmpd="sng" algn="ctr">
            <a:noFill/>
            <a:prstDash val="solid"/>
            <a:headEnd type="none" w="med" len="med"/>
            <a:tailEnd type="none" w="med" len="med"/>
          </a:ln>
          <a:effectLst/>
        </p:spPr>
        <p:txBody>
          <a:bodyPr rot="0" spcFirstLastPara="0" vert="horz" wrap="square" lIns="175665" tIns="140532" rIns="175665" bIns="14053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5567">
              <a:lnSpc>
                <a:spcPct val="90000"/>
              </a:lnSpc>
            </a:pPr>
            <a:endParaRPr lang="en-US" sz="1151"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24" name="Picture 223"/>
          <p:cNvPicPr>
            <a:picLocks noChangeAspect="1"/>
          </p:cNvPicPr>
          <p:nvPr/>
        </p:nvPicPr>
        <p:blipFill>
          <a:blip r:embed="rId4"/>
          <a:stretch>
            <a:fillRect/>
          </a:stretch>
        </p:blipFill>
        <p:spPr>
          <a:xfrm>
            <a:off x="5604434" y="4411533"/>
            <a:ext cx="6808856" cy="2438265"/>
          </a:xfrm>
          <a:prstGeom prst="rect">
            <a:avLst/>
          </a:prstGeom>
        </p:spPr>
      </p:pic>
    </p:spTree>
    <p:extLst>
      <p:ext uri="{BB962C8B-B14F-4D97-AF65-F5344CB8AC3E}">
        <p14:creationId xmlns:p14="http://schemas.microsoft.com/office/powerpoint/2010/main" val="278707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8">
                                            <p:txEl>
                                              <p:pRg st="0" end="0"/>
                                            </p:txEl>
                                          </p:spTgt>
                                        </p:tgtEl>
                                        <p:attrNameLst>
                                          <p:attrName>style.visibility</p:attrName>
                                        </p:attrNameLst>
                                      </p:cBhvr>
                                      <p:to>
                                        <p:strVal val="visible"/>
                                      </p:to>
                                    </p:set>
                                    <p:animEffect transition="in" filter="fade">
                                      <p:cBhvr>
                                        <p:cTn id="7" dur="750"/>
                                        <p:tgtEl>
                                          <p:spTgt spid="2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tx1"/>
                </a:solidFill>
              </a:rPr>
              <a:t>HDInsight supports Hive</a:t>
            </a:r>
          </a:p>
        </p:txBody>
      </p:sp>
      <p:sp>
        <p:nvSpPr>
          <p:cNvPr id="143" name="Text Placeholder 2"/>
          <p:cNvSpPr txBox="1">
            <a:spLocks/>
          </p:cNvSpPr>
          <p:nvPr/>
        </p:nvSpPr>
        <p:spPr>
          <a:xfrm>
            <a:off x="275481" y="1187813"/>
            <a:ext cx="11887878" cy="3635952"/>
          </a:xfrm>
          <a:prstGeom prst="rect">
            <a:avLst/>
          </a:prstGeom>
        </p:spPr>
        <p:txBody>
          <a:bodyPr vert="horz" wrap="square" lIns="149217" tIns="93260" rIns="149217" bIns="9326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3920" kern="1200" spc="0" baseline="0">
                <a:gradFill>
                  <a:gsLst>
                    <a:gs pos="2920">
                      <a:schemeClr val="tx2"/>
                    </a:gs>
                    <a:gs pos="39000">
                      <a:schemeClr val="tx2"/>
                    </a:gs>
                  </a:gsLst>
                  <a:lin ang="5400000" scaled="0"/>
                </a:gradFill>
                <a:latin typeface="+mj-lt"/>
                <a:ea typeface="+mn-ea"/>
                <a:cs typeface="+mn-cs"/>
              </a:defRPr>
            </a:lvl1pPr>
            <a:lvl2pPr marL="28012"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1629" lvl="1" indent="-341629">
              <a:defRPr/>
            </a:pPr>
            <a:r>
              <a:rPr lang="en-US" sz="2400" dirty="0">
                <a:solidFill>
                  <a:schemeClr val="accent2"/>
                </a:solidFill>
              </a:rPr>
              <a:t>SQL-like queries on Hadoop data in HDInsight</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HDInsight provides easy-to-use graphical query interface for Hive</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HiveQL is a SQL-like language (a dialect of SQL)</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Hive structures include well-understood database concepts such as tables, rows, columns, partitions</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Compiled into MapReduce jobs that are executed on Hadoop</a:t>
            </a:r>
          </a:p>
          <a:p>
            <a:pPr marL="341629" lvl="1" indent="-341629">
              <a:defRPr/>
            </a:pPr>
            <a:r>
              <a:rPr lang="en-US" sz="2400" dirty="0">
                <a:solidFill>
                  <a:schemeClr val="accent2"/>
                </a:solidFill>
              </a:rPr>
              <a:t>Dramatic performance gains with Stinger/</a:t>
            </a:r>
            <a:r>
              <a:rPr lang="en-US" sz="2400" dirty="0" err="1">
                <a:solidFill>
                  <a:schemeClr val="accent2"/>
                </a:solidFill>
              </a:rPr>
              <a:t>Tez</a:t>
            </a:r>
            <a:r>
              <a:rPr lang="en-US" sz="2400" dirty="0">
                <a:solidFill>
                  <a:schemeClr val="accent2"/>
                </a:solidFill>
              </a:rPr>
              <a:t>, Interactive Mode with Hive LLAP</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Stinger is a Microsoft, Hortonworks, and OSS-driven initiative to bring interactive queries with Hive</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Query execution engine technology from Microsoft SQL Server to Hive</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Performance gains up to 100x</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Hive LLAP for in-memory processing for providing real-time interactive data processing and 25x speed-ups</a:t>
            </a:r>
          </a:p>
        </p:txBody>
      </p:sp>
      <p:grpSp>
        <p:nvGrpSpPr>
          <p:cNvPr id="144" name="Group 143"/>
          <p:cNvGrpSpPr/>
          <p:nvPr/>
        </p:nvGrpSpPr>
        <p:grpSpPr>
          <a:xfrm>
            <a:off x="1347126" y="4333360"/>
            <a:ext cx="10265737" cy="2618204"/>
            <a:chOff x="1525136" y="4654063"/>
            <a:chExt cx="10267193" cy="2618575"/>
          </a:xfrm>
        </p:grpSpPr>
        <p:grpSp>
          <p:nvGrpSpPr>
            <p:cNvPr id="145" name="Group 1"/>
            <p:cNvGrpSpPr/>
            <p:nvPr/>
          </p:nvGrpSpPr>
          <p:grpSpPr>
            <a:xfrm>
              <a:off x="1525136" y="4654063"/>
              <a:ext cx="10267193" cy="2618575"/>
              <a:chOff x="6622308" y="3214779"/>
              <a:chExt cx="7011516" cy="2001835"/>
            </a:xfrm>
          </p:grpSpPr>
          <p:sp>
            <p:nvSpPr>
              <p:cNvPr id="149" name="Rectangle 4"/>
              <p:cNvSpPr/>
              <p:nvPr/>
            </p:nvSpPr>
            <p:spPr bwMode="auto">
              <a:xfrm>
                <a:off x="9357223" y="3308121"/>
                <a:ext cx="4276601" cy="1803445"/>
              </a:xfrm>
              <a:prstGeom prst="rect">
                <a:avLst/>
              </a:prstGeom>
              <a:solidFill>
                <a:srgbClr val="505050">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29"/>
              <p:cNvSpPr/>
              <p:nvPr/>
            </p:nvSpPr>
            <p:spPr bwMode="auto">
              <a:xfrm rot="16200000">
                <a:off x="7706277" y="3456373"/>
                <a:ext cx="1801472" cy="1461530"/>
              </a:xfrm>
              <a:custGeom>
                <a:avLst/>
                <a:gdLst>
                  <a:gd name="connsiteX0" fmla="*/ 0 w 1960498"/>
                  <a:gd name="connsiteY0" fmla="*/ 1481026 h 1481026"/>
                  <a:gd name="connsiteX1" fmla="*/ 930335 w 1960498"/>
                  <a:gd name="connsiteY1" fmla="*/ 0 h 1481026"/>
                  <a:gd name="connsiteX2" fmla="*/ 1960498 w 1960498"/>
                  <a:gd name="connsiteY2" fmla="*/ 1481026 h 1481026"/>
                  <a:gd name="connsiteX3" fmla="*/ 0 w 1960498"/>
                  <a:gd name="connsiteY3" fmla="*/ 1481026 h 1481026"/>
                  <a:gd name="connsiteX0" fmla="*/ 0 w 1801472"/>
                  <a:gd name="connsiteY0" fmla="*/ 1490965 h 1490965"/>
                  <a:gd name="connsiteX1" fmla="*/ 771309 w 1801472"/>
                  <a:gd name="connsiteY1" fmla="*/ 0 h 1490965"/>
                  <a:gd name="connsiteX2" fmla="*/ 1801472 w 1801472"/>
                  <a:gd name="connsiteY2" fmla="*/ 1481026 h 1490965"/>
                  <a:gd name="connsiteX3" fmla="*/ 0 w 1801472"/>
                  <a:gd name="connsiteY3" fmla="*/ 1490965 h 1490965"/>
                </a:gdLst>
                <a:ahLst/>
                <a:cxnLst>
                  <a:cxn ang="0">
                    <a:pos x="connsiteX0" y="connsiteY0"/>
                  </a:cxn>
                  <a:cxn ang="0">
                    <a:pos x="connsiteX1" y="connsiteY1"/>
                  </a:cxn>
                  <a:cxn ang="0">
                    <a:pos x="connsiteX2" y="connsiteY2"/>
                  </a:cxn>
                  <a:cxn ang="0">
                    <a:pos x="connsiteX3" y="connsiteY3"/>
                  </a:cxn>
                </a:cxnLst>
                <a:rect l="l" t="t" r="r" b="b"/>
                <a:pathLst>
                  <a:path w="1801472" h="1490965">
                    <a:moveTo>
                      <a:pt x="0" y="1490965"/>
                    </a:moveTo>
                    <a:lnTo>
                      <a:pt x="771309" y="0"/>
                    </a:lnTo>
                    <a:lnTo>
                      <a:pt x="1801472" y="1481026"/>
                    </a:lnTo>
                    <a:lnTo>
                      <a:pt x="0" y="1490965"/>
                    </a:lnTo>
                    <a:close/>
                  </a:path>
                </a:pathLst>
              </a:custGeom>
              <a:solidFill>
                <a:srgbClr val="505050">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2"/>
              <p:cNvSpPr/>
              <p:nvPr/>
            </p:nvSpPr>
            <p:spPr bwMode="auto">
              <a:xfrm>
                <a:off x="6730443" y="4598770"/>
                <a:ext cx="1288040" cy="449188"/>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TextBox 763"/>
              <p:cNvSpPr txBox="1"/>
              <p:nvPr/>
            </p:nvSpPr>
            <p:spPr>
              <a:xfrm>
                <a:off x="7815688" y="3357443"/>
                <a:ext cx="1197206" cy="237405"/>
              </a:xfrm>
              <a:prstGeom prst="rect">
                <a:avLst/>
              </a:prstGeom>
              <a:noFill/>
            </p:spPr>
            <p:txBody>
              <a:bodyPr wrap="square" lIns="0" tIns="0" rIns="0" bIns="0" rtlCol="0">
                <a:spAutoFit/>
              </a:bodyPr>
              <a:lstStyle>
                <a:defPPr>
                  <a:defRPr lang="en-US"/>
                </a:defPPr>
                <a:lvl1pPr algn="r">
                  <a:lnSpc>
                    <a:spcPct val="90000"/>
                  </a:lnSpc>
                  <a:defRPr sz="2400">
                    <a:gradFill>
                      <a:gsLst>
                        <a:gs pos="2917">
                          <a:srgbClr val="505050"/>
                        </a:gs>
                        <a:gs pos="30000">
                          <a:srgbClr val="505050"/>
                        </a:gs>
                      </a:gsLst>
                      <a:lin ang="5400000" scaled="0"/>
                    </a:gradFill>
                  </a:defRPr>
                </a:lvl1pPr>
              </a:lstStyle>
              <a:p>
                <a:pPr algn="l" defTabSz="932597">
                  <a:defRPr/>
                </a:pPr>
                <a:r>
                  <a:rPr lang="en-US" sz="1099" kern="0" dirty="0"/>
                  <a:t>Microsoft contribution to Apache code</a:t>
                </a:r>
              </a:p>
            </p:txBody>
          </p:sp>
          <p:cxnSp>
            <p:nvCxnSpPr>
              <p:cNvPr id="153" name="Elbow Connector 10"/>
              <p:cNvCxnSpPr>
                <a:endCxn id="237" idx="2"/>
              </p:cNvCxnSpPr>
              <p:nvPr/>
            </p:nvCxnSpPr>
            <p:spPr>
              <a:xfrm rot="5400000">
                <a:off x="7768131" y="3889443"/>
                <a:ext cx="774544" cy="273845"/>
              </a:xfrm>
              <a:prstGeom prst="bentConnector2">
                <a:avLst/>
              </a:prstGeom>
              <a:noFill/>
              <a:ln w="9525" cap="flat" cmpd="sng" algn="ctr">
                <a:solidFill>
                  <a:srgbClr val="FFFFFF"/>
                </a:solidFill>
                <a:prstDash val="solid"/>
                <a:headEnd type="none" w="med" len="med"/>
                <a:tailEnd type="none" w="med" len="med"/>
              </a:ln>
              <a:effectLst/>
            </p:spPr>
          </p:cxnSp>
          <p:sp>
            <p:nvSpPr>
              <p:cNvPr id="154" name="TextBox 5"/>
              <p:cNvSpPr txBox="1"/>
              <p:nvPr/>
            </p:nvSpPr>
            <p:spPr>
              <a:xfrm>
                <a:off x="6622308" y="4853180"/>
                <a:ext cx="1274956" cy="344578"/>
              </a:xfrm>
              <a:prstGeom prst="rect">
                <a:avLst/>
              </a:prstGeom>
              <a:noFill/>
            </p:spPr>
            <p:txBody>
              <a:bodyPr wrap="square" lIns="182854" tIns="146283" rIns="182854" bIns="146283" rtlCol="0">
                <a:spAutoFit/>
              </a:bodyPr>
              <a:lstStyle/>
              <a:p>
                <a:pPr defTabSz="932597">
                  <a:lnSpc>
                    <a:spcPct val="90000"/>
                  </a:lnSpc>
                  <a:defRPr/>
                </a:pPr>
                <a:r>
                  <a:rPr lang="en-US" sz="1099" kern="0" dirty="0">
                    <a:solidFill>
                      <a:srgbClr val="FFFFFF"/>
                    </a:solidFill>
                  </a:rPr>
                  <a:t>Hadoop 2.0</a:t>
                </a:r>
              </a:p>
            </p:txBody>
          </p:sp>
          <p:sp>
            <p:nvSpPr>
              <p:cNvPr id="155" name="Rectangle 6"/>
              <p:cNvSpPr/>
              <p:nvPr/>
            </p:nvSpPr>
            <p:spPr bwMode="auto">
              <a:xfrm>
                <a:off x="9510272" y="3570970"/>
                <a:ext cx="517236" cy="1079387"/>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1400s</a:t>
                </a:r>
              </a:p>
            </p:txBody>
          </p:sp>
          <p:sp>
            <p:nvSpPr>
              <p:cNvPr id="156" name="Rectangle 7"/>
              <p:cNvSpPr/>
              <p:nvPr/>
            </p:nvSpPr>
            <p:spPr bwMode="auto">
              <a:xfrm>
                <a:off x="10391131" y="4115314"/>
                <a:ext cx="517236" cy="535041"/>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44.3s</a:t>
                </a:r>
              </a:p>
            </p:txBody>
          </p:sp>
          <p:sp>
            <p:nvSpPr>
              <p:cNvPr id="157" name="Rectangle 8"/>
              <p:cNvSpPr/>
              <p:nvPr/>
            </p:nvSpPr>
            <p:spPr bwMode="auto">
              <a:xfrm>
                <a:off x="11271990" y="4360348"/>
                <a:ext cx="517236" cy="290009"/>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35.1s</a:t>
                </a:r>
              </a:p>
            </p:txBody>
          </p:sp>
          <p:sp>
            <p:nvSpPr>
              <p:cNvPr id="158" name="TextBox 9"/>
              <p:cNvSpPr txBox="1"/>
              <p:nvPr/>
            </p:nvSpPr>
            <p:spPr>
              <a:xfrm>
                <a:off x="9329239" y="3214779"/>
                <a:ext cx="2715470" cy="398580"/>
              </a:xfrm>
              <a:prstGeom prst="rect">
                <a:avLst/>
              </a:prstGeom>
              <a:noFill/>
            </p:spPr>
            <p:txBody>
              <a:bodyPr wrap="square" lIns="182854" tIns="146283" rIns="182854" bIns="146283" rtlCol="0">
                <a:spAutoFit/>
              </a:bodyPr>
              <a:lstStyle/>
              <a:p>
                <a:pPr defTabSz="932597">
                  <a:lnSpc>
                    <a:spcPct val="90000"/>
                  </a:lnSpc>
                  <a:defRPr/>
                </a:pPr>
                <a:r>
                  <a:rPr lang="en-US" sz="1599" kern="0" dirty="0">
                    <a:solidFill>
                      <a:schemeClr val="bg1"/>
                    </a:solidFill>
                  </a:rPr>
                  <a:t>Sample Query</a:t>
                </a:r>
              </a:p>
            </p:txBody>
          </p:sp>
          <p:sp>
            <p:nvSpPr>
              <p:cNvPr id="159" name="TextBox 10"/>
              <p:cNvSpPr txBox="1"/>
              <p:nvPr/>
            </p:nvSpPr>
            <p:spPr>
              <a:xfrm>
                <a:off x="9337775" y="4645330"/>
                <a:ext cx="876665" cy="398580"/>
              </a:xfrm>
              <a:prstGeom prst="rect">
                <a:avLst/>
              </a:prstGeom>
              <a:noFill/>
            </p:spPr>
            <p:txBody>
              <a:bodyPr wrap="square" lIns="182854" tIns="146283" rIns="182854" bIns="146283" rtlCol="0">
                <a:spAutoFit/>
              </a:bodyPr>
              <a:lstStyle/>
              <a:p>
                <a:pPr defTabSz="932597">
                  <a:lnSpc>
                    <a:spcPct val="90000"/>
                  </a:lnSpc>
                  <a:defRPr/>
                </a:pPr>
                <a:r>
                  <a:rPr lang="en-US" sz="1599" kern="0" dirty="0">
                    <a:solidFill>
                      <a:srgbClr val="F8F8F8"/>
                    </a:solidFill>
                  </a:rPr>
                  <a:t>Hive 10</a:t>
                </a:r>
              </a:p>
            </p:txBody>
          </p:sp>
          <p:sp>
            <p:nvSpPr>
              <p:cNvPr id="160" name="TextBox 11"/>
              <p:cNvSpPr txBox="1"/>
              <p:nvPr/>
            </p:nvSpPr>
            <p:spPr>
              <a:xfrm>
                <a:off x="10151421" y="4645330"/>
                <a:ext cx="964195" cy="571284"/>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rgbClr val="F8F8F8"/>
                    </a:solidFill>
                  </a:rPr>
                  <a:t>HDP 1.3 /</a:t>
                </a:r>
                <a:br>
                  <a:rPr lang="en-US" sz="1599" kern="0" dirty="0">
                    <a:solidFill>
                      <a:srgbClr val="F8F8F8"/>
                    </a:solidFill>
                  </a:rPr>
                </a:br>
                <a:r>
                  <a:rPr lang="en-US" sz="1599" kern="0" dirty="0">
                    <a:solidFill>
                      <a:srgbClr val="F8F8F8"/>
                    </a:solidFill>
                  </a:rPr>
                  <a:t>Hive 11</a:t>
                </a:r>
              </a:p>
            </p:txBody>
          </p:sp>
          <p:sp>
            <p:nvSpPr>
              <p:cNvPr id="161" name="TextBox 12"/>
              <p:cNvSpPr txBox="1"/>
              <p:nvPr/>
            </p:nvSpPr>
            <p:spPr>
              <a:xfrm>
                <a:off x="11070255" y="4645330"/>
                <a:ext cx="964195" cy="398580"/>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rgbClr val="F8F8F8"/>
                    </a:solidFill>
                  </a:rPr>
                  <a:t>HDP 2.0</a:t>
                </a:r>
              </a:p>
            </p:txBody>
          </p:sp>
          <p:cxnSp>
            <p:nvCxnSpPr>
              <p:cNvPr id="162" name="Straight Connector 13"/>
              <p:cNvCxnSpPr/>
              <p:nvPr/>
            </p:nvCxnSpPr>
            <p:spPr>
              <a:xfrm>
                <a:off x="9395882" y="4645331"/>
                <a:ext cx="3988356" cy="1096"/>
              </a:xfrm>
              <a:prstGeom prst="line">
                <a:avLst/>
              </a:prstGeom>
              <a:noFill/>
              <a:ln w="9525" cap="flat" cmpd="sng" algn="ctr">
                <a:solidFill>
                  <a:srgbClr val="505050">
                    <a:lumMod val="75000"/>
                  </a:srgbClr>
                </a:solidFill>
                <a:prstDash val="solid"/>
                <a:headEnd type="none"/>
                <a:tailEnd type="none"/>
              </a:ln>
              <a:effectLst/>
            </p:spPr>
          </p:cxnSp>
          <p:sp>
            <p:nvSpPr>
              <p:cNvPr id="163" name="TextBox 14"/>
              <p:cNvSpPr txBox="1"/>
              <p:nvPr/>
            </p:nvSpPr>
            <p:spPr>
              <a:xfrm>
                <a:off x="10374691" y="3978633"/>
                <a:ext cx="728039" cy="118703"/>
              </a:xfrm>
              <a:prstGeom prst="rect">
                <a:avLst/>
              </a:prstGeom>
              <a:noFill/>
            </p:spPr>
            <p:txBody>
              <a:bodyPr wrap="square" lIns="0" tIns="0" rIns="0" bIns="0" rtlCol="0">
                <a:spAutoFit/>
              </a:bodyPr>
              <a:lstStyle/>
              <a:p>
                <a:pPr defTabSz="932597">
                  <a:lnSpc>
                    <a:spcPct val="90000"/>
                  </a:lnSpc>
                  <a:defRPr/>
                </a:pPr>
                <a:r>
                  <a:rPr lang="en-US" sz="1099" kern="0" dirty="0">
                    <a:solidFill>
                      <a:schemeClr val="bg1"/>
                    </a:solidFill>
                  </a:rPr>
                  <a:t>32x Speedup</a:t>
                </a:r>
              </a:p>
            </p:txBody>
          </p:sp>
          <p:sp>
            <p:nvSpPr>
              <p:cNvPr id="164" name="TextBox 15"/>
              <p:cNvSpPr txBox="1"/>
              <p:nvPr/>
            </p:nvSpPr>
            <p:spPr>
              <a:xfrm>
                <a:off x="11282951" y="4113927"/>
                <a:ext cx="728039" cy="237405"/>
              </a:xfrm>
              <a:prstGeom prst="rect">
                <a:avLst/>
              </a:prstGeom>
              <a:noFill/>
            </p:spPr>
            <p:txBody>
              <a:bodyPr wrap="square" lIns="0" tIns="0" rIns="0" bIns="0" rtlCol="0">
                <a:spAutoFit/>
              </a:bodyPr>
              <a:lstStyle/>
              <a:p>
                <a:pPr defTabSz="932597">
                  <a:lnSpc>
                    <a:spcPct val="90000"/>
                  </a:lnSpc>
                  <a:defRPr/>
                </a:pPr>
                <a:r>
                  <a:rPr lang="en-US" sz="1099" kern="0" dirty="0">
                    <a:solidFill>
                      <a:schemeClr val="bg1"/>
                    </a:solidFill>
                  </a:rPr>
                  <a:t>40X</a:t>
                </a:r>
              </a:p>
              <a:p>
                <a:pPr defTabSz="932597">
                  <a:lnSpc>
                    <a:spcPct val="90000"/>
                  </a:lnSpc>
                  <a:defRPr/>
                </a:pPr>
                <a:r>
                  <a:rPr lang="en-US" sz="1099" kern="0" dirty="0">
                    <a:solidFill>
                      <a:schemeClr val="bg1"/>
                    </a:solidFill>
                  </a:rPr>
                  <a:t>Speedup</a:t>
                </a:r>
              </a:p>
            </p:txBody>
          </p:sp>
          <p:grpSp>
            <p:nvGrpSpPr>
              <p:cNvPr id="165" name="Group 73"/>
              <p:cNvGrpSpPr/>
              <p:nvPr/>
            </p:nvGrpSpPr>
            <p:grpSpPr>
              <a:xfrm>
                <a:off x="6730443" y="4115315"/>
                <a:ext cx="1288043" cy="934525"/>
                <a:chOff x="-1148535" y="2797985"/>
                <a:chExt cx="1421075" cy="1031045"/>
              </a:xfrm>
            </p:grpSpPr>
            <p:grpSp>
              <p:nvGrpSpPr>
                <p:cNvPr id="245" name="Group 541"/>
                <p:cNvGrpSpPr/>
                <p:nvPr/>
              </p:nvGrpSpPr>
              <p:grpSpPr>
                <a:xfrm>
                  <a:off x="-603453" y="2797985"/>
                  <a:ext cx="330913" cy="380741"/>
                  <a:chOff x="732997" y="4287556"/>
                  <a:chExt cx="469611" cy="540324"/>
                </a:xfrm>
              </p:grpSpPr>
              <p:sp>
                <p:nvSpPr>
                  <p:cNvPr id="280"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81"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82"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46" name="Group 542"/>
                <p:cNvGrpSpPr/>
                <p:nvPr/>
              </p:nvGrpSpPr>
              <p:grpSpPr>
                <a:xfrm>
                  <a:off x="-330913" y="2959181"/>
                  <a:ext cx="330913" cy="380741"/>
                  <a:chOff x="885397" y="4439956"/>
                  <a:chExt cx="469611" cy="540324"/>
                </a:xfrm>
              </p:grpSpPr>
              <p:sp>
                <p:nvSpPr>
                  <p:cNvPr id="27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9"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47" name="Group 543"/>
                <p:cNvGrpSpPr/>
                <p:nvPr/>
              </p:nvGrpSpPr>
              <p:grpSpPr>
                <a:xfrm>
                  <a:off x="-58373" y="3134132"/>
                  <a:ext cx="330913" cy="371399"/>
                  <a:chOff x="885397" y="4453213"/>
                  <a:chExt cx="469611" cy="527067"/>
                </a:xfrm>
              </p:grpSpPr>
              <p:sp>
                <p:nvSpPr>
                  <p:cNvPr id="27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6" name="Freeform 16"/>
                  <p:cNvSpPr>
                    <a:spLocks/>
                  </p:cNvSpPr>
                  <p:nvPr/>
                </p:nvSpPr>
                <p:spPr bwMode="auto">
                  <a:xfrm>
                    <a:off x="885397" y="4453213"/>
                    <a:ext cx="469611" cy="269775"/>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48" name="Group 74"/>
                <p:cNvGrpSpPr/>
                <p:nvPr/>
              </p:nvGrpSpPr>
              <p:grpSpPr>
                <a:xfrm>
                  <a:off x="-869886" y="2959494"/>
                  <a:ext cx="875993" cy="707553"/>
                  <a:chOff x="-860361" y="2988069"/>
                  <a:chExt cx="875993" cy="707553"/>
                </a:xfrm>
              </p:grpSpPr>
              <p:grpSp>
                <p:nvGrpSpPr>
                  <p:cNvPr id="262" name="Group 558"/>
                  <p:cNvGrpSpPr/>
                  <p:nvPr/>
                </p:nvGrpSpPr>
                <p:grpSpPr>
                  <a:xfrm>
                    <a:off x="-860361" y="2988069"/>
                    <a:ext cx="330913" cy="380741"/>
                    <a:chOff x="732997" y="4287556"/>
                    <a:chExt cx="469611" cy="540324"/>
                  </a:xfrm>
                </p:grpSpPr>
                <p:sp>
                  <p:nvSpPr>
                    <p:cNvPr id="271"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2"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3"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63" name="Group 559"/>
                  <p:cNvGrpSpPr/>
                  <p:nvPr/>
                </p:nvGrpSpPr>
                <p:grpSpPr>
                  <a:xfrm>
                    <a:off x="-587821" y="3149265"/>
                    <a:ext cx="330913" cy="380741"/>
                    <a:chOff x="885397" y="4439956"/>
                    <a:chExt cx="469611" cy="540324"/>
                  </a:xfrm>
                </p:grpSpPr>
                <p:sp>
                  <p:nvSpPr>
                    <p:cNvPr id="26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0"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64" name="Group 560"/>
                  <p:cNvGrpSpPr/>
                  <p:nvPr/>
                </p:nvGrpSpPr>
                <p:grpSpPr>
                  <a:xfrm>
                    <a:off x="-315281" y="3318585"/>
                    <a:ext cx="330913" cy="377037"/>
                    <a:chOff x="885397" y="4445213"/>
                    <a:chExt cx="469611" cy="535067"/>
                  </a:xfrm>
                </p:grpSpPr>
                <p:sp>
                  <p:nvSpPr>
                    <p:cNvPr id="26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7"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nvGrpSpPr>
                <p:cNvPr id="249" name="Group 545"/>
                <p:cNvGrpSpPr/>
                <p:nvPr/>
              </p:nvGrpSpPr>
              <p:grpSpPr>
                <a:xfrm>
                  <a:off x="-1148535" y="3121480"/>
                  <a:ext cx="875993" cy="707550"/>
                  <a:chOff x="-860361" y="2988069"/>
                  <a:chExt cx="875993" cy="707550"/>
                </a:xfrm>
              </p:grpSpPr>
              <p:grpSp>
                <p:nvGrpSpPr>
                  <p:cNvPr id="250" name="Group 546"/>
                  <p:cNvGrpSpPr/>
                  <p:nvPr/>
                </p:nvGrpSpPr>
                <p:grpSpPr>
                  <a:xfrm>
                    <a:off x="-860361" y="2988069"/>
                    <a:ext cx="330913" cy="380741"/>
                    <a:chOff x="732997" y="4287556"/>
                    <a:chExt cx="469611" cy="540324"/>
                  </a:xfrm>
                </p:grpSpPr>
                <p:sp>
                  <p:nvSpPr>
                    <p:cNvPr id="25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51" name="Group 547"/>
                  <p:cNvGrpSpPr/>
                  <p:nvPr/>
                </p:nvGrpSpPr>
                <p:grpSpPr>
                  <a:xfrm>
                    <a:off x="-587821" y="3152972"/>
                    <a:ext cx="330913" cy="377037"/>
                    <a:chOff x="885397" y="4445213"/>
                    <a:chExt cx="469611" cy="535067"/>
                  </a:xfrm>
                </p:grpSpPr>
                <p:sp>
                  <p:nvSpPr>
                    <p:cNvPr id="25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8"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52" name="Group 548"/>
                  <p:cNvGrpSpPr/>
                  <p:nvPr/>
                </p:nvGrpSpPr>
                <p:grpSpPr>
                  <a:xfrm>
                    <a:off x="-315281" y="3314878"/>
                    <a:ext cx="330913" cy="380741"/>
                    <a:chOff x="885397" y="4439956"/>
                    <a:chExt cx="469611" cy="540324"/>
                  </a:xfrm>
                </p:grpSpPr>
                <p:sp>
                  <p:nvSpPr>
                    <p:cNvPr id="25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grpSp>
            <p:nvGrpSpPr>
              <p:cNvPr id="166" name="Group 73"/>
              <p:cNvGrpSpPr/>
              <p:nvPr/>
            </p:nvGrpSpPr>
            <p:grpSpPr>
              <a:xfrm>
                <a:off x="6730440" y="3858721"/>
                <a:ext cx="1288043" cy="934525"/>
                <a:chOff x="-1148535" y="2797985"/>
                <a:chExt cx="1421075" cy="1031045"/>
              </a:xfrm>
            </p:grpSpPr>
            <p:grpSp>
              <p:nvGrpSpPr>
                <p:cNvPr id="207" name="Group 541"/>
                <p:cNvGrpSpPr/>
                <p:nvPr/>
              </p:nvGrpSpPr>
              <p:grpSpPr>
                <a:xfrm>
                  <a:off x="-603453" y="2797985"/>
                  <a:ext cx="330913" cy="380741"/>
                  <a:chOff x="732997" y="4287556"/>
                  <a:chExt cx="469611" cy="540324"/>
                </a:xfrm>
              </p:grpSpPr>
              <p:sp>
                <p:nvSpPr>
                  <p:cNvPr id="242"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3"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4"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08" name="Group 542"/>
                <p:cNvGrpSpPr/>
                <p:nvPr/>
              </p:nvGrpSpPr>
              <p:grpSpPr>
                <a:xfrm>
                  <a:off x="-330913" y="2959181"/>
                  <a:ext cx="330913" cy="380741"/>
                  <a:chOff x="885397" y="4439956"/>
                  <a:chExt cx="469611" cy="540324"/>
                </a:xfrm>
              </p:grpSpPr>
              <p:sp>
                <p:nvSpPr>
                  <p:cNvPr id="239"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0"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1"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09" name="Group 543"/>
                <p:cNvGrpSpPr/>
                <p:nvPr/>
              </p:nvGrpSpPr>
              <p:grpSpPr>
                <a:xfrm>
                  <a:off x="-58373" y="3124794"/>
                  <a:ext cx="330913" cy="380741"/>
                  <a:chOff x="885397" y="4439956"/>
                  <a:chExt cx="469611" cy="540324"/>
                </a:xfrm>
              </p:grpSpPr>
              <p:sp>
                <p:nvSpPr>
                  <p:cNvPr id="23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DC3C0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8"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DC3C0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10" name="Group 74"/>
                <p:cNvGrpSpPr/>
                <p:nvPr/>
              </p:nvGrpSpPr>
              <p:grpSpPr>
                <a:xfrm>
                  <a:off x="-869886" y="2959494"/>
                  <a:ext cx="875993" cy="707553"/>
                  <a:chOff x="-860361" y="2988069"/>
                  <a:chExt cx="875993" cy="707553"/>
                </a:xfrm>
              </p:grpSpPr>
              <p:grpSp>
                <p:nvGrpSpPr>
                  <p:cNvPr id="224" name="Group 558"/>
                  <p:cNvGrpSpPr/>
                  <p:nvPr/>
                </p:nvGrpSpPr>
                <p:grpSpPr>
                  <a:xfrm>
                    <a:off x="-860361" y="2988069"/>
                    <a:ext cx="330913" cy="380741"/>
                    <a:chOff x="732997" y="4287556"/>
                    <a:chExt cx="469611" cy="540324"/>
                  </a:xfrm>
                </p:grpSpPr>
                <p:sp>
                  <p:nvSpPr>
                    <p:cNvPr id="233"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4"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5"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25" name="Group 559"/>
                  <p:cNvGrpSpPr/>
                  <p:nvPr/>
                </p:nvGrpSpPr>
                <p:grpSpPr>
                  <a:xfrm>
                    <a:off x="-587821" y="3149265"/>
                    <a:ext cx="330913" cy="380741"/>
                    <a:chOff x="885397" y="4439956"/>
                    <a:chExt cx="469611" cy="540324"/>
                  </a:xfrm>
                </p:grpSpPr>
                <p:sp>
                  <p:nvSpPr>
                    <p:cNvPr id="230"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1"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2"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26" name="Group 560"/>
                  <p:cNvGrpSpPr/>
                  <p:nvPr/>
                </p:nvGrpSpPr>
                <p:grpSpPr>
                  <a:xfrm>
                    <a:off x="-315281" y="3318585"/>
                    <a:ext cx="330913" cy="377037"/>
                    <a:chOff x="885397" y="4445213"/>
                    <a:chExt cx="469611" cy="535067"/>
                  </a:xfrm>
                </p:grpSpPr>
                <p:sp>
                  <p:nvSpPr>
                    <p:cNvPr id="22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9"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nvGrpSpPr>
                <p:cNvPr id="211" name="Group 545"/>
                <p:cNvGrpSpPr/>
                <p:nvPr/>
              </p:nvGrpSpPr>
              <p:grpSpPr>
                <a:xfrm>
                  <a:off x="-1148535" y="3131993"/>
                  <a:ext cx="875993" cy="697037"/>
                  <a:chOff x="-860361" y="2998582"/>
                  <a:chExt cx="875993" cy="697037"/>
                </a:xfrm>
              </p:grpSpPr>
              <p:grpSp>
                <p:nvGrpSpPr>
                  <p:cNvPr id="212" name="Group 546"/>
                  <p:cNvGrpSpPr/>
                  <p:nvPr/>
                </p:nvGrpSpPr>
                <p:grpSpPr>
                  <a:xfrm>
                    <a:off x="-860361" y="2998582"/>
                    <a:ext cx="330913" cy="370233"/>
                    <a:chOff x="732997" y="4302469"/>
                    <a:chExt cx="469611" cy="525411"/>
                  </a:xfrm>
                </p:grpSpPr>
                <p:sp>
                  <p:nvSpPr>
                    <p:cNvPr id="221"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2"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3" name="Freeform 16"/>
                    <p:cNvSpPr>
                      <a:spLocks/>
                    </p:cNvSpPr>
                    <p:nvPr/>
                  </p:nvSpPr>
                  <p:spPr bwMode="auto">
                    <a:xfrm>
                      <a:off x="732997" y="4302469"/>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13" name="Group 547"/>
                  <p:cNvGrpSpPr/>
                  <p:nvPr/>
                </p:nvGrpSpPr>
                <p:grpSpPr>
                  <a:xfrm>
                    <a:off x="-587821" y="3152972"/>
                    <a:ext cx="330913" cy="377037"/>
                    <a:chOff x="885397" y="4445213"/>
                    <a:chExt cx="469611" cy="535067"/>
                  </a:xfrm>
                </p:grpSpPr>
                <p:sp>
                  <p:nvSpPr>
                    <p:cNvPr id="21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1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0"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14" name="Group 548"/>
                  <p:cNvGrpSpPr/>
                  <p:nvPr/>
                </p:nvGrpSpPr>
                <p:grpSpPr>
                  <a:xfrm>
                    <a:off x="-315281" y="3314878"/>
                    <a:ext cx="330913" cy="380741"/>
                    <a:chOff x="885397" y="4439956"/>
                    <a:chExt cx="469611" cy="540324"/>
                  </a:xfrm>
                </p:grpSpPr>
                <p:sp>
                  <p:nvSpPr>
                    <p:cNvPr id="21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1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17"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grpSp>
            <p:nvGrpSpPr>
              <p:cNvPr id="167" name="Group 73"/>
              <p:cNvGrpSpPr/>
              <p:nvPr/>
            </p:nvGrpSpPr>
            <p:grpSpPr>
              <a:xfrm>
                <a:off x="6737930" y="3585083"/>
                <a:ext cx="1288043" cy="934525"/>
                <a:chOff x="-1148535" y="2797985"/>
                <a:chExt cx="1421075" cy="1031045"/>
              </a:xfrm>
            </p:grpSpPr>
            <p:grpSp>
              <p:nvGrpSpPr>
                <p:cNvPr id="169" name="Group 541"/>
                <p:cNvGrpSpPr/>
                <p:nvPr/>
              </p:nvGrpSpPr>
              <p:grpSpPr>
                <a:xfrm>
                  <a:off x="-603453" y="2797985"/>
                  <a:ext cx="330913" cy="380741"/>
                  <a:chOff x="732997" y="4287556"/>
                  <a:chExt cx="469611" cy="540324"/>
                </a:xfrm>
              </p:grpSpPr>
              <p:sp>
                <p:nvSpPr>
                  <p:cNvPr id="204"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5"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6"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0" name="Group 542"/>
                <p:cNvGrpSpPr/>
                <p:nvPr/>
              </p:nvGrpSpPr>
              <p:grpSpPr>
                <a:xfrm>
                  <a:off x="-330913" y="2959181"/>
                  <a:ext cx="330913" cy="380741"/>
                  <a:chOff x="885397" y="4439956"/>
                  <a:chExt cx="469611" cy="540324"/>
                </a:xfrm>
              </p:grpSpPr>
              <p:sp>
                <p:nvSpPr>
                  <p:cNvPr id="20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3"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1" name="Group 543"/>
                <p:cNvGrpSpPr/>
                <p:nvPr/>
              </p:nvGrpSpPr>
              <p:grpSpPr>
                <a:xfrm>
                  <a:off x="-58373" y="3124794"/>
                  <a:ext cx="330913" cy="380741"/>
                  <a:chOff x="885397" y="4439956"/>
                  <a:chExt cx="469611" cy="540324"/>
                </a:xfrm>
              </p:grpSpPr>
              <p:sp>
                <p:nvSpPr>
                  <p:cNvPr id="19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0"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2" name="Group 171"/>
                <p:cNvGrpSpPr/>
                <p:nvPr/>
              </p:nvGrpSpPr>
              <p:grpSpPr>
                <a:xfrm>
                  <a:off x="-869886" y="2959494"/>
                  <a:ext cx="875993" cy="707553"/>
                  <a:chOff x="-860361" y="2988069"/>
                  <a:chExt cx="875993" cy="707553"/>
                </a:xfrm>
              </p:grpSpPr>
              <p:grpSp>
                <p:nvGrpSpPr>
                  <p:cNvPr id="186" name="Group 558"/>
                  <p:cNvGrpSpPr/>
                  <p:nvPr/>
                </p:nvGrpSpPr>
                <p:grpSpPr>
                  <a:xfrm>
                    <a:off x="-860361" y="2988069"/>
                    <a:ext cx="330913" cy="380741"/>
                    <a:chOff x="732997" y="4287556"/>
                    <a:chExt cx="469611" cy="540324"/>
                  </a:xfrm>
                </p:grpSpPr>
                <p:sp>
                  <p:nvSpPr>
                    <p:cNvPr id="195"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6"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7"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87" name="Group 559"/>
                  <p:cNvGrpSpPr/>
                  <p:nvPr/>
                </p:nvGrpSpPr>
                <p:grpSpPr>
                  <a:xfrm>
                    <a:off x="-587821" y="3149265"/>
                    <a:ext cx="330913" cy="380741"/>
                    <a:chOff x="885397" y="4439956"/>
                    <a:chExt cx="469611" cy="540324"/>
                  </a:xfrm>
                </p:grpSpPr>
                <p:sp>
                  <p:nvSpPr>
                    <p:cNvPr id="19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4"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88" name="Group 560"/>
                  <p:cNvGrpSpPr/>
                  <p:nvPr/>
                </p:nvGrpSpPr>
                <p:grpSpPr>
                  <a:xfrm>
                    <a:off x="-315281" y="3318585"/>
                    <a:ext cx="330913" cy="377037"/>
                    <a:chOff x="885397" y="4445213"/>
                    <a:chExt cx="469611" cy="535067"/>
                  </a:xfrm>
                </p:grpSpPr>
                <p:sp>
                  <p:nvSpPr>
                    <p:cNvPr id="189"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0"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1"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nvGrpSpPr>
                <p:cNvPr id="173" name="Group 545"/>
                <p:cNvGrpSpPr/>
                <p:nvPr/>
              </p:nvGrpSpPr>
              <p:grpSpPr>
                <a:xfrm>
                  <a:off x="-1148535" y="3121480"/>
                  <a:ext cx="875993" cy="707550"/>
                  <a:chOff x="-860361" y="2988069"/>
                  <a:chExt cx="875993" cy="707550"/>
                </a:xfrm>
              </p:grpSpPr>
              <p:grpSp>
                <p:nvGrpSpPr>
                  <p:cNvPr id="174" name="Group 546"/>
                  <p:cNvGrpSpPr/>
                  <p:nvPr/>
                </p:nvGrpSpPr>
                <p:grpSpPr>
                  <a:xfrm>
                    <a:off x="-860361" y="2988069"/>
                    <a:ext cx="330913" cy="380741"/>
                    <a:chOff x="732997" y="4287556"/>
                    <a:chExt cx="469611" cy="540324"/>
                  </a:xfrm>
                </p:grpSpPr>
                <p:sp>
                  <p:nvSpPr>
                    <p:cNvPr id="183"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4"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5"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5" name="Group 547"/>
                  <p:cNvGrpSpPr/>
                  <p:nvPr/>
                </p:nvGrpSpPr>
                <p:grpSpPr>
                  <a:xfrm>
                    <a:off x="-587821" y="3152972"/>
                    <a:ext cx="330913" cy="377037"/>
                    <a:chOff x="885397" y="4445213"/>
                    <a:chExt cx="469611" cy="535067"/>
                  </a:xfrm>
                </p:grpSpPr>
                <p:sp>
                  <p:nvSpPr>
                    <p:cNvPr id="180"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1"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2"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6" name="Group 548"/>
                  <p:cNvGrpSpPr/>
                  <p:nvPr/>
                </p:nvGrpSpPr>
                <p:grpSpPr>
                  <a:xfrm>
                    <a:off x="-315281" y="3314878"/>
                    <a:ext cx="330913" cy="380741"/>
                    <a:chOff x="885397" y="4439956"/>
                    <a:chExt cx="469611" cy="540324"/>
                  </a:xfrm>
                </p:grpSpPr>
                <p:sp>
                  <p:nvSpPr>
                    <p:cNvPr id="17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7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79"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sp>
            <p:nvSpPr>
              <p:cNvPr id="168" name="Rectangle 717"/>
              <p:cNvSpPr/>
              <p:nvPr/>
            </p:nvSpPr>
            <p:spPr bwMode="auto">
              <a:xfrm>
                <a:off x="6739542" y="3428665"/>
                <a:ext cx="1279167" cy="921548"/>
              </a:xfrm>
              <a:custGeom>
                <a:avLst/>
                <a:gdLst>
                  <a:gd name="connsiteX0" fmla="*/ 0 w 2541414"/>
                  <a:gd name="connsiteY0" fmla="*/ 0 h 2541414"/>
                  <a:gd name="connsiteX1" fmla="*/ 2541414 w 2541414"/>
                  <a:gd name="connsiteY1" fmla="*/ 0 h 2541414"/>
                  <a:gd name="connsiteX2" fmla="*/ 2541414 w 2541414"/>
                  <a:gd name="connsiteY2" fmla="*/ 2541414 h 2541414"/>
                  <a:gd name="connsiteX3" fmla="*/ 0 w 2541414"/>
                  <a:gd name="connsiteY3" fmla="*/ 2541414 h 2541414"/>
                  <a:gd name="connsiteX4" fmla="*/ 0 w 2541414"/>
                  <a:gd name="connsiteY4" fmla="*/ 0 h 2541414"/>
                  <a:gd name="connsiteX0" fmla="*/ 0 w 2541414"/>
                  <a:gd name="connsiteY0" fmla="*/ 871671 h 3413085"/>
                  <a:gd name="connsiteX1" fmla="*/ 1533011 w 2541414"/>
                  <a:gd name="connsiteY1" fmla="*/ 0 h 3413085"/>
                  <a:gd name="connsiteX2" fmla="*/ 2541414 w 2541414"/>
                  <a:gd name="connsiteY2" fmla="*/ 3413085 h 3413085"/>
                  <a:gd name="connsiteX3" fmla="*/ 0 w 2541414"/>
                  <a:gd name="connsiteY3" fmla="*/ 3413085 h 3413085"/>
                  <a:gd name="connsiteX4" fmla="*/ 0 w 2541414"/>
                  <a:gd name="connsiteY4" fmla="*/ 871671 h 3413085"/>
                  <a:gd name="connsiteX0" fmla="*/ 0 w 3011433"/>
                  <a:gd name="connsiteY0" fmla="*/ 871671 h 3413085"/>
                  <a:gd name="connsiteX1" fmla="*/ 1533011 w 3011433"/>
                  <a:gd name="connsiteY1" fmla="*/ 0 h 3413085"/>
                  <a:gd name="connsiteX2" fmla="*/ 3011433 w 3011433"/>
                  <a:gd name="connsiteY2" fmla="*/ 934804 h 3413085"/>
                  <a:gd name="connsiteX3" fmla="*/ 0 w 3011433"/>
                  <a:gd name="connsiteY3" fmla="*/ 3413085 h 3413085"/>
                  <a:gd name="connsiteX4" fmla="*/ 0 w 3011433"/>
                  <a:gd name="connsiteY4" fmla="*/ 871671 h 3413085"/>
                  <a:gd name="connsiteX0" fmla="*/ 0 w 3011433"/>
                  <a:gd name="connsiteY0" fmla="*/ 871671 h 1558647"/>
                  <a:gd name="connsiteX1" fmla="*/ 1533011 w 3011433"/>
                  <a:gd name="connsiteY1" fmla="*/ 0 h 1558647"/>
                  <a:gd name="connsiteX2" fmla="*/ 3011433 w 3011433"/>
                  <a:gd name="connsiteY2" fmla="*/ 934804 h 1558647"/>
                  <a:gd name="connsiteX3" fmla="*/ 1563880 w 3011433"/>
                  <a:gd name="connsiteY3" fmla="*/ 1558647 h 1558647"/>
                  <a:gd name="connsiteX4" fmla="*/ 0 w 3011433"/>
                  <a:gd name="connsiteY4" fmla="*/ 871671 h 1558647"/>
                  <a:gd name="connsiteX0" fmla="*/ 0 w 3011433"/>
                  <a:gd name="connsiteY0" fmla="*/ 871671 h 1797929"/>
                  <a:gd name="connsiteX1" fmla="*/ 1533011 w 3011433"/>
                  <a:gd name="connsiteY1" fmla="*/ 0 h 1797929"/>
                  <a:gd name="connsiteX2" fmla="*/ 3011433 w 3011433"/>
                  <a:gd name="connsiteY2" fmla="*/ 934804 h 1797929"/>
                  <a:gd name="connsiteX3" fmla="*/ 1486968 w 3011433"/>
                  <a:gd name="connsiteY3" fmla="*/ 1797929 h 1797929"/>
                  <a:gd name="connsiteX4" fmla="*/ 0 w 3011433"/>
                  <a:gd name="connsiteY4" fmla="*/ 871671 h 1797929"/>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521151 w 3011433"/>
                  <a:gd name="connsiteY3" fmla="*/ 1780837 h 1780837"/>
                  <a:gd name="connsiteX4" fmla="*/ 0 w 3011433"/>
                  <a:gd name="connsiteY4" fmla="*/ 854579 h 1780837"/>
                  <a:gd name="connsiteX0" fmla="*/ 0 w 2994342"/>
                  <a:gd name="connsiteY0" fmla="*/ 854579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54579 h 1780837"/>
                  <a:gd name="connsiteX0" fmla="*/ 0 w 2994342"/>
                  <a:gd name="connsiteY0" fmla="*/ 871413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71413 h 1780837"/>
                  <a:gd name="connsiteX0" fmla="*/ 0 w 2994342"/>
                  <a:gd name="connsiteY0" fmla="*/ 871413 h 1780837"/>
                  <a:gd name="connsiteX1" fmla="*/ 1498827 w 2994342"/>
                  <a:gd name="connsiteY1" fmla="*/ 0 h 1780837"/>
                  <a:gd name="connsiteX2" fmla="*/ 2994342 w 2994342"/>
                  <a:gd name="connsiteY2" fmla="*/ 909166 h 1780837"/>
                  <a:gd name="connsiteX3" fmla="*/ 1512666 w 2994342"/>
                  <a:gd name="connsiteY3" fmla="*/ 1780837 h 1780837"/>
                  <a:gd name="connsiteX4" fmla="*/ 0 w 2994342"/>
                  <a:gd name="connsiteY4" fmla="*/ 871413 h 1780837"/>
                  <a:gd name="connsiteX0" fmla="*/ 0 w 2994342"/>
                  <a:gd name="connsiteY0" fmla="*/ 856944 h 1766368"/>
                  <a:gd name="connsiteX1" fmla="*/ 1517058 w 2994342"/>
                  <a:gd name="connsiteY1" fmla="*/ 0 h 1766368"/>
                  <a:gd name="connsiteX2" fmla="*/ 2994342 w 2994342"/>
                  <a:gd name="connsiteY2" fmla="*/ 894697 h 1766368"/>
                  <a:gd name="connsiteX3" fmla="*/ 1512666 w 2994342"/>
                  <a:gd name="connsiteY3" fmla="*/ 1766368 h 1766368"/>
                  <a:gd name="connsiteX4" fmla="*/ 0 w 2994342"/>
                  <a:gd name="connsiteY4" fmla="*/ 856944 h 1766368"/>
                  <a:gd name="connsiteX0" fmla="*/ 0 w 2987049"/>
                  <a:gd name="connsiteY0" fmla="*/ 864178 h 1766368"/>
                  <a:gd name="connsiteX1" fmla="*/ 1509765 w 2987049"/>
                  <a:gd name="connsiteY1" fmla="*/ 0 h 1766368"/>
                  <a:gd name="connsiteX2" fmla="*/ 2987049 w 2987049"/>
                  <a:gd name="connsiteY2" fmla="*/ 894697 h 1766368"/>
                  <a:gd name="connsiteX3" fmla="*/ 1505373 w 2987049"/>
                  <a:gd name="connsiteY3" fmla="*/ 1766368 h 1766368"/>
                  <a:gd name="connsiteX4" fmla="*/ 0 w 2987049"/>
                  <a:gd name="connsiteY4" fmla="*/ 864178 h 1766368"/>
                  <a:gd name="connsiteX0" fmla="*/ 0 w 2987049"/>
                  <a:gd name="connsiteY0" fmla="*/ 864178 h 1755516"/>
                  <a:gd name="connsiteX1" fmla="*/ 1509765 w 2987049"/>
                  <a:gd name="connsiteY1" fmla="*/ 0 h 1755516"/>
                  <a:gd name="connsiteX2" fmla="*/ 2987049 w 2987049"/>
                  <a:gd name="connsiteY2" fmla="*/ 894697 h 1755516"/>
                  <a:gd name="connsiteX3" fmla="*/ 1501727 w 2987049"/>
                  <a:gd name="connsiteY3" fmla="*/ 1755516 h 1755516"/>
                  <a:gd name="connsiteX4" fmla="*/ 0 w 2987049"/>
                  <a:gd name="connsiteY4" fmla="*/ 864178 h 1755516"/>
                  <a:gd name="connsiteX0" fmla="*/ 0 w 2987049"/>
                  <a:gd name="connsiteY0" fmla="*/ 864178 h 1755516"/>
                  <a:gd name="connsiteX1" fmla="*/ 1509765 w 2987049"/>
                  <a:gd name="connsiteY1" fmla="*/ 0 h 1755516"/>
                  <a:gd name="connsiteX2" fmla="*/ 2987049 w 2987049"/>
                  <a:gd name="connsiteY2" fmla="*/ 891080 h 1755516"/>
                  <a:gd name="connsiteX3" fmla="*/ 1501727 w 2987049"/>
                  <a:gd name="connsiteY3" fmla="*/ 1755516 h 1755516"/>
                  <a:gd name="connsiteX4" fmla="*/ 0 w 2987049"/>
                  <a:gd name="connsiteY4" fmla="*/ 864178 h 175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7049" h="1755516">
                    <a:moveTo>
                      <a:pt x="0" y="864178"/>
                    </a:moveTo>
                    <a:lnTo>
                      <a:pt x="1509765" y="0"/>
                    </a:lnTo>
                    <a:lnTo>
                      <a:pt x="2987049" y="891080"/>
                    </a:lnTo>
                    <a:lnTo>
                      <a:pt x="1501727" y="1755516"/>
                    </a:lnTo>
                    <a:lnTo>
                      <a:pt x="0" y="864178"/>
                    </a:lnTo>
                    <a:close/>
                  </a:path>
                </a:pathLst>
              </a:custGeom>
              <a:solidFill>
                <a:srgbClr val="008272">
                  <a:lumMod val="50000"/>
                  <a:alpha val="60000"/>
                </a:srgbClr>
              </a:solidFill>
              <a:ln w="9525" cap="flat" cmpd="sng" algn="ctr">
                <a:noFill/>
                <a:prstDash val="solid"/>
                <a:headEnd type="none" w="med" len="med"/>
                <a:tailEnd type="none" w="med" len="med"/>
              </a:ln>
              <a:effectLst/>
              <a:scene3d>
                <a:camera prst="perspectiveRelaxedModerately"/>
                <a:lightRig rig="threePt" dir="t"/>
              </a:scene3d>
              <a:sp3d extrusionH="139700">
                <a:bevelT w="0" h="0" prst="coolSlant"/>
                <a:contourClr>
                  <a:srgbClr val="00B294"/>
                </a:contourClr>
              </a:sp3d>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6" name="TextBox 12"/>
            <p:cNvSpPr txBox="1"/>
            <p:nvPr/>
          </p:nvSpPr>
          <p:spPr>
            <a:xfrm>
              <a:off x="9339308" y="6401101"/>
              <a:ext cx="1411902" cy="517065"/>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rgbClr val="F8F8F8"/>
                  </a:solidFill>
                </a:rPr>
                <a:t>HDP 2.1</a:t>
              </a:r>
            </a:p>
          </p:txBody>
        </p:sp>
        <p:sp>
          <p:nvSpPr>
            <p:cNvPr id="147" name="Rectangle 8"/>
            <p:cNvSpPr/>
            <p:nvPr/>
          </p:nvSpPr>
          <p:spPr bwMode="auto">
            <a:xfrm>
              <a:off x="9635163" y="6295308"/>
              <a:ext cx="757406" cy="204256"/>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15s</a:t>
              </a:r>
            </a:p>
          </p:txBody>
        </p:sp>
        <p:sp>
          <p:nvSpPr>
            <p:cNvPr id="148" name="TextBox 15"/>
            <p:cNvSpPr txBox="1"/>
            <p:nvPr/>
          </p:nvSpPr>
          <p:spPr>
            <a:xfrm>
              <a:off x="9635163" y="5982510"/>
              <a:ext cx="1066091" cy="310547"/>
            </a:xfrm>
            <a:prstGeom prst="rect">
              <a:avLst/>
            </a:prstGeom>
            <a:noFill/>
          </p:spPr>
          <p:txBody>
            <a:bodyPr wrap="square" lIns="0" tIns="0" rIns="0" bIns="0" rtlCol="0">
              <a:spAutoFit/>
            </a:bodyPr>
            <a:lstStyle/>
            <a:p>
              <a:pPr defTabSz="932597">
                <a:lnSpc>
                  <a:spcPct val="90000"/>
                </a:lnSpc>
                <a:defRPr/>
              </a:pPr>
              <a:r>
                <a:rPr lang="en-US" sz="1099" kern="0" dirty="0">
                  <a:solidFill>
                    <a:schemeClr val="bg1"/>
                  </a:solidFill>
                </a:rPr>
                <a:t>100x</a:t>
              </a:r>
            </a:p>
            <a:p>
              <a:pPr defTabSz="932597">
                <a:lnSpc>
                  <a:spcPct val="90000"/>
                </a:lnSpc>
                <a:defRPr/>
              </a:pPr>
              <a:r>
                <a:rPr lang="en-US" sz="1099" kern="0" dirty="0">
                  <a:solidFill>
                    <a:schemeClr val="bg1"/>
                  </a:solidFill>
                </a:rPr>
                <a:t>Speedup</a:t>
              </a:r>
            </a:p>
          </p:txBody>
        </p:sp>
      </p:grpSp>
      <p:sp>
        <p:nvSpPr>
          <p:cNvPr id="283" name="Rectangle 8"/>
          <p:cNvSpPr/>
          <p:nvPr/>
        </p:nvSpPr>
        <p:spPr bwMode="auto">
          <a:xfrm>
            <a:off x="10378514" y="6138415"/>
            <a:ext cx="764495" cy="45719"/>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endParaRPr lang="en-US" sz="1399" kern="0" dirty="0">
              <a:solidFill>
                <a:schemeClr val="bg1"/>
              </a:solidFill>
              <a:latin typeface="Segoe UI"/>
              <a:ea typeface="Segoe UI" pitchFamily="34" charset="0"/>
              <a:cs typeface="Segoe UI" pitchFamily="34" charset="0"/>
            </a:endParaRPr>
          </a:p>
        </p:txBody>
      </p:sp>
      <p:sp>
        <p:nvSpPr>
          <p:cNvPr id="284" name="TextBox 12"/>
          <p:cNvSpPr txBox="1"/>
          <p:nvPr/>
        </p:nvSpPr>
        <p:spPr>
          <a:xfrm>
            <a:off x="10089897" y="6086587"/>
            <a:ext cx="1411702" cy="516992"/>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chemeClr val="bg1"/>
                </a:solidFill>
              </a:rPr>
              <a:t>Hive LLAP</a:t>
            </a:r>
          </a:p>
        </p:txBody>
      </p:sp>
      <p:sp>
        <p:nvSpPr>
          <p:cNvPr id="4" name="TextBox 3"/>
          <p:cNvSpPr txBox="1"/>
          <p:nvPr/>
        </p:nvSpPr>
        <p:spPr>
          <a:xfrm>
            <a:off x="10427697" y="5634807"/>
            <a:ext cx="674031" cy="1015406"/>
          </a:xfrm>
          <a:prstGeom prst="rect">
            <a:avLst/>
          </a:prstGeom>
          <a:noFill/>
        </p:spPr>
        <p:txBody>
          <a:bodyPr wrap="square" lIns="182880" tIns="146304" rIns="182880" bIns="146304" rtlCol="0">
            <a:spAutoFit/>
          </a:bodyPr>
          <a:lstStyle/>
          <a:p>
            <a:pPr lvl="0" algn="ctr" defTabSz="932293">
              <a:lnSpc>
                <a:spcPct val="90000"/>
              </a:lnSpc>
              <a:defRPr/>
            </a:pPr>
            <a:endParaRPr lang="en-US" sz="1399" kern="0" dirty="0">
              <a:solidFill>
                <a:schemeClr val="bg1"/>
              </a:solidFill>
              <a:ea typeface="Segoe UI" pitchFamily="34" charset="0"/>
              <a:cs typeface="Segoe UI" pitchFamily="34" charset="0"/>
            </a:endParaRPr>
          </a:p>
          <a:p>
            <a:pPr lvl="0" algn="ctr" defTabSz="932293">
              <a:lnSpc>
                <a:spcPct val="90000"/>
              </a:lnSpc>
              <a:defRPr/>
            </a:pPr>
            <a:r>
              <a:rPr lang="en-US" sz="1399" kern="0" dirty="0">
                <a:solidFill>
                  <a:schemeClr val="bg1"/>
                </a:solidFill>
                <a:ea typeface="Segoe UI" pitchFamily="34" charset="0"/>
                <a:cs typeface="Segoe UI" pitchFamily="34" charset="0"/>
              </a:rPr>
              <a:t>0.7s</a:t>
            </a:r>
          </a:p>
          <a:p>
            <a:pPr>
              <a:lnSpc>
                <a:spcPct val="90000"/>
              </a:lnSpc>
              <a:spcAft>
                <a:spcPts val="600"/>
              </a:spcAft>
            </a:pPr>
            <a:endParaRPr lang="en-US" sz="2400" dirty="0">
              <a:solidFill>
                <a:schemeClr val="bg1"/>
              </a:solidFill>
            </a:endParaRPr>
          </a:p>
        </p:txBody>
      </p:sp>
    </p:spTree>
    <p:extLst>
      <p:ext uri="{BB962C8B-B14F-4D97-AF65-F5344CB8AC3E}">
        <p14:creationId xmlns:p14="http://schemas.microsoft.com/office/powerpoint/2010/main" val="126393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fade">
                                      <p:cBhvr>
                                        <p:cTn id="7" dur="1000"/>
                                        <p:tgtEl>
                                          <p:spTgt spid="144"/>
                                        </p:tgtEl>
                                      </p:cBhvr>
                                    </p:animEffect>
                                    <p:anim calcmode="lin" valueType="num">
                                      <p:cBhvr>
                                        <p:cTn id="8" dur="1000" fill="hold"/>
                                        <p:tgtEl>
                                          <p:spTgt spid="144"/>
                                        </p:tgtEl>
                                        <p:attrNameLst>
                                          <p:attrName>ppt_x</p:attrName>
                                        </p:attrNameLst>
                                      </p:cBhvr>
                                      <p:tavLst>
                                        <p:tav tm="0">
                                          <p:val>
                                            <p:strVal val="#ppt_x"/>
                                          </p:val>
                                        </p:tav>
                                        <p:tav tm="100000">
                                          <p:val>
                                            <p:strVal val="#ppt_x"/>
                                          </p:val>
                                        </p:tav>
                                      </p:tavLst>
                                    </p:anim>
                                    <p:anim calcmode="lin" valueType="num">
                                      <p:cBhvr>
                                        <p:cTn id="9" dur="1000" fill="hold"/>
                                        <p:tgtEl>
                                          <p:spTgt spid="1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4286"/>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smtClean="0"/>
              <a:t>9:30 </a:t>
            </a:r>
            <a:r>
              <a:rPr lang="en-US" sz="1800" dirty="0"/>
              <a:t>A.M. to </a:t>
            </a:r>
            <a:r>
              <a:rPr lang="en-US" sz="1800" dirty="0" smtClean="0"/>
              <a:t>4:30 </a:t>
            </a:r>
            <a:r>
              <a:rPr lang="en-US" sz="1800" dirty="0"/>
              <a:t>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smtClean="0"/>
              <a:t>10:30 </a:t>
            </a:r>
            <a:r>
              <a:rPr lang="en-US" sz="1800" dirty="0"/>
              <a:t>A.M. – </a:t>
            </a:r>
            <a:r>
              <a:rPr lang="en-US" sz="1800" dirty="0" smtClean="0"/>
              <a:t>15 Min. B</a:t>
            </a:r>
            <a:r>
              <a:rPr lang="en-US" sz="1800" dirty="0" smtClean="0"/>
              <a:t>reak </a:t>
            </a:r>
            <a:endParaRPr lang="en-US" sz="1800" dirty="0"/>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17193" y="369116"/>
            <a:ext cx="10971244" cy="1024684"/>
          </a:xfrm>
        </p:spPr>
        <p:txBody>
          <a:bodyPr/>
          <a:lstStyle/>
          <a:p>
            <a:r>
              <a:rPr lang="en-US" dirty="0">
                <a:solidFill>
                  <a:schemeClr val="tx1"/>
                </a:solidFill>
              </a:rPr>
              <a:t>HDInsight supports HBase</a:t>
            </a:r>
          </a:p>
        </p:txBody>
      </p:sp>
      <p:grpSp>
        <p:nvGrpSpPr>
          <p:cNvPr id="283" name="Group 282"/>
          <p:cNvGrpSpPr/>
          <p:nvPr/>
        </p:nvGrpSpPr>
        <p:grpSpPr>
          <a:xfrm>
            <a:off x="-43472" y="3135282"/>
            <a:ext cx="12286472" cy="3253240"/>
            <a:chOff x="-44361" y="3792000"/>
            <a:chExt cx="12288215" cy="3253702"/>
          </a:xfrm>
        </p:grpSpPr>
        <p:grpSp>
          <p:nvGrpSpPr>
            <p:cNvPr id="284" name="Group 334"/>
            <p:cNvGrpSpPr/>
            <p:nvPr/>
          </p:nvGrpSpPr>
          <p:grpSpPr>
            <a:xfrm>
              <a:off x="4873485" y="4390797"/>
              <a:ext cx="465114" cy="711041"/>
              <a:chOff x="11312677" y="4385379"/>
              <a:chExt cx="420734" cy="643192"/>
            </a:xfrm>
          </p:grpSpPr>
          <p:sp>
            <p:nvSpPr>
              <p:cNvPr id="437"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3"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4"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5"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6"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7"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sp>
          <p:nvSpPr>
            <p:cNvPr id="285" name="Freeform 29"/>
            <p:cNvSpPr>
              <a:spLocks/>
            </p:cNvSpPr>
            <p:nvPr/>
          </p:nvSpPr>
          <p:spPr bwMode="auto">
            <a:xfrm>
              <a:off x="2384720" y="4708747"/>
              <a:ext cx="6675240" cy="229678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286" name="Freeform 29"/>
            <p:cNvSpPr>
              <a:spLocks/>
            </p:cNvSpPr>
            <p:nvPr/>
          </p:nvSpPr>
          <p:spPr bwMode="auto">
            <a:xfrm>
              <a:off x="6796972" y="5045804"/>
              <a:ext cx="5446882" cy="197017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287" name="Freeform 29"/>
            <p:cNvSpPr>
              <a:spLocks/>
            </p:cNvSpPr>
            <p:nvPr/>
          </p:nvSpPr>
          <p:spPr bwMode="auto">
            <a:xfrm>
              <a:off x="1835460" y="6290490"/>
              <a:ext cx="4201248"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288" name="Freeform 29"/>
            <p:cNvSpPr>
              <a:spLocks/>
            </p:cNvSpPr>
            <p:nvPr/>
          </p:nvSpPr>
          <p:spPr bwMode="auto">
            <a:xfrm>
              <a:off x="-44361" y="6248821"/>
              <a:ext cx="5559119"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nvGrpSpPr>
            <p:cNvPr id="289" name="Group 334"/>
            <p:cNvGrpSpPr/>
            <p:nvPr/>
          </p:nvGrpSpPr>
          <p:grpSpPr>
            <a:xfrm>
              <a:off x="5971322" y="4325929"/>
              <a:ext cx="496839" cy="759540"/>
              <a:chOff x="11312677" y="4385379"/>
              <a:chExt cx="420734" cy="643192"/>
            </a:xfrm>
          </p:grpSpPr>
          <p:sp>
            <p:nvSpPr>
              <p:cNvPr id="426"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2"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3"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4"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5"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6"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290" name="Group 332"/>
            <p:cNvGrpSpPr/>
            <p:nvPr/>
          </p:nvGrpSpPr>
          <p:grpSpPr>
            <a:xfrm>
              <a:off x="2842681" y="5918480"/>
              <a:ext cx="715124" cy="1093238"/>
              <a:chOff x="11312677" y="4385379"/>
              <a:chExt cx="420734" cy="643192"/>
            </a:xfrm>
          </p:grpSpPr>
          <p:sp>
            <p:nvSpPr>
              <p:cNvPr id="41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1"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2"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3"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4"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5"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291" name="Group 290"/>
            <p:cNvGrpSpPr/>
            <p:nvPr/>
          </p:nvGrpSpPr>
          <p:grpSpPr>
            <a:xfrm>
              <a:off x="4382852" y="4878493"/>
              <a:ext cx="161865" cy="313735"/>
              <a:chOff x="8018355" y="6002801"/>
              <a:chExt cx="145517" cy="282046"/>
            </a:xfrm>
          </p:grpSpPr>
          <p:sp>
            <p:nvSpPr>
              <p:cNvPr id="412"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3"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4"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2" name="Group 291"/>
            <p:cNvGrpSpPr/>
            <p:nvPr/>
          </p:nvGrpSpPr>
          <p:grpSpPr>
            <a:xfrm>
              <a:off x="5416056" y="6418024"/>
              <a:ext cx="161865" cy="313735"/>
              <a:chOff x="8018355" y="6002801"/>
              <a:chExt cx="145517" cy="282046"/>
            </a:xfrm>
          </p:grpSpPr>
          <p:sp>
            <p:nvSpPr>
              <p:cNvPr id="409"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0"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1"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3" name="Group 292"/>
            <p:cNvGrpSpPr/>
            <p:nvPr/>
          </p:nvGrpSpPr>
          <p:grpSpPr>
            <a:xfrm>
              <a:off x="2530903" y="6028215"/>
              <a:ext cx="161865" cy="313735"/>
              <a:chOff x="6089354" y="5313902"/>
              <a:chExt cx="161865" cy="313735"/>
            </a:xfrm>
          </p:grpSpPr>
          <p:sp>
            <p:nvSpPr>
              <p:cNvPr id="406" name="Freeform 14"/>
              <p:cNvSpPr>
                <a:spLocks/>
              </p:cNvSpPr>
              <p:nvPr/>
            </p:nvSpPr>
            <p:spPr bwMode="auto">
              <a:xfrm>
                <a:off x="6154576" y="5505286"/>
                <a:ext cx="33325" cy="122351"/>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7" name="Freeform 15"/>
              <p:cNvSpPr>
                <a:spLocks/>
              </p:cNvSpPr>
              <p:nvPr/>
            </p:nvSpPr>
            <p:spPr bwMode="auto">
              <a:xfrm>
                <a:off x="6089354" y="5397691"/>
                <a:ext cx="161865" cy="162819"/>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8" name="Freeform 16"/>
              <p:cNvSpPr>
                <a:spLocks/>
              </p:cNvSpPr>
              <p:nvPr/>
            </p:nvSpPr>
            <p:spPr bwMode="auto">
              <a:xfrm>
                <a:off x="6110778" y="5313902"/>
                <a:ext cx="118543" cy="119019"/>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4" name="Group 293"/>
            <p:cNvGrpSpPr/>
            <p:nvPr/>
          </p:nvGrpSpPr>
          <p:grpSpPr>
            <a:xfrm>
              <a:off x="6827154" y="4888396"/>
              <a:ext cx="161865" cy="313735"/>
              <a:chOff x="8018355" y="6002801"/>
              <a:chExt cx="145517" cy="282046"/>
            </a:xfrm>
          </p:grpSpPr>
          <p:sp>
            <p:nvSpPr>
              <p:cNvPr id="403"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4"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5"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5" name="Group 294"/>
            <p:cNvGrpSpPr/>
            <p:nvPr/>
          </p:nvGrpSpPr>
          <p:grpSpPr>
            <a:xfrm>
              <a:off x="11077418" y="6463686"/>
              <a:ext cx="161865" cy="313735"/>
              <a:chOff x="8018355" y="6002801"/>
              <a:chExt cx="145517" cy="282046"/>
            </a:xfrm>
          </p:grpSpPr>
          <p:sp>
            <p:nvSpPr>
              <p:cNvPr id="400"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1"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2"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sp>
          <p:nvSpPr>
            <p:cNvPr id="296" name="Rounded Rectangle 295"/>
            <p:cNvSpPr/>
            <p:nvPr/>
          </p:nvSpPr>
          <p:spPr>
            <a:xfrm>
              <a:off x="3623041"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297" name="Rounded Rectangle 296"/>
            <p:cNvSpPr/>
            <p:nvPr/>
          </p:nvSpPr>
          <p:spPr>
            <a:xfrm>
              <a:off x="59022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298" name="Rounded Rectangle 297"/>
            <p:cNvSpPr/>
            <p:nvPr/>
          </p:nvSpPr>
          <p:spPr>
            <a:xfrm>
              <a:off x="80583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299" name="Rounded Rectangle 298"/>
            <p:cNvSpPr/>
            <p:nvPr/>
          </p:nvSpPr>
          <p:spPr>
            <a:xfrm>
              <a:off x="10318863"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300" name="Rounded Rectangle 299"/>
            <p:cNvSpPr/>
            <p:nvPr/>
          </p:nvSpPr>
          <p:spPr>
            <a:xfrm>
              <a:off x="3623041"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sp>
          <p:nvSpPr>
            <p:cNvPr id="301" name="Rounded Rectangle 300"/>
            <p:cNvSpPr/>
            <p:nvPr/>
          </p:nvSpPr>
          <p:spPr>
            <a:xfrm>
              <a:off x="59022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sp>
          <p:nvSpPr>
            <p:cNvPr id="302" name="Rounded Rectangle 301"/>
            <p:cNvSpPr/>
            <p:nvPr/>
          </p:nvSpPr>
          <p:spPr>
            <a:xfrm>
              <a:off x="80583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sp>
          <p:nvSpPr>
            <p:cNvPr id="303" name="Rounded Rectangle 302"/>
            <p:cNvSpPr/>
            <p:nvPr/>
          </p:nvSpPr>
          <p:spPr>
            <a:xfrm>
              <a:off x="10318863"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grpSp>
          <p:nvGrpSpPr>
            <p:cNvPr id="304" name="Group 332"/>
            <p:cNvGrpSpPr/>
            <p:nvPr/>
          </p:nvGrpSpPr>
          <p:grpSpPr>
            <a:xfrm>
              <a:off x="1586777" y="5304274"/>
              <a:ext cx="815611" cy="1246856"/>
              <a:chOff x="11312677" y="4385379"/>
              <a:chExt cx="420734" cy="643192"/>
            </a:xfrm>
          </p:grpSpPr>
          <p:sp>
            <p:nvSpPr>
              <p:cNvPr id="389"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5"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6"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7"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8"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9"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sp>
          <p:nvSpPr>
            <p:cNvPr id="305" name="Rounded Rectangle 304"/>
            <p:cNvSpPr/>
            <p:nvPr/>
          </p:nvSpPr>
          <p:spPr>
            <a:xfrm>
              <a:off x="500823" y="5585783"/>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Name node</a:t>
              </a:r>
              <a:endParaRPr lang="en-US" sz="1099" dirty="0">
                <a:solidFill>
                  <a:srgbClr val="FFFFFF"/>
                </a:solidFill>
                <a:latin typeface="Arial" pitchFamily="34" charset="0"/>
                <a:cs typeface="Arial" pitchFamily="34" charset="0"/>
              </a:endParaRPr>
            </a:p>
          </p:txBody>
        </p:sp>
        <p:sp>
          <p:nvSpPr>
            <p:cNvPr id="306" name="Rounded Rectangle 305"/>
            <p:cNvSpPr/>
            <p:nvPr/>
          </p:nvSpPr>
          <p:spPr>
            <a:xfrm>
              <a:off x="500823" y="5954755"/>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JobTracker</a:t>
              </a:r>
              <a:endParaRPr lang="en-US" sz="1099" dirty="0">
                <a:solidFill>
                  <a:srgbClr val="FFFFFF"/>
                </a:solidFill>
                <a:latin typeface="Arial" pitchFamily="34" charset="0"/>
                <a:cs typeface="Arial" pitchFamily="34" charset="0"/>
              </a:endParaRPr>
            </a:p>
          </p:txBody>
        </p:sp>
        <p:grpSp>
          <p:nvGrpSpPr>
            <p:cNvPr id="307" name="Group 332"/>
            <p:cNvGrpSpPr/>
            <p:nvPr/>
          </p:nvGrpSpPr>
          <p:grpSpPr>
            <a:xfrm>
              <a:off x="9168321" y="4088774"/>
              <a:ext cx="815611" cy="1246856"/>
              <a:chOff x="11312677" y="4385379"/>
              <a:chExt cx="420734" cy="643192"/>
            </a:xfrm>
          </p:grpSpPr>
          <p:sp>
            <p:nvSpPr>
              <p:cNvPr id="378"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4"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5"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6"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7"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8"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308" name="Group 334"/>
            <p:cNvGrpSpPr/>
            <p:nvPr/>
          </p:nvGrpSpPr>
          <p:grpSpPr>
            <a:xfrm>
              <a:off x="5359590" y="4239774"/>
              <a:ext cx="581700" cy="889271"/>
              <a:chOff x="11312677" y="4385379"/>
              <a:chExt cx="420734" cy="643192"/>
            </a:xfrm>
          </p:grpSpPr>
          <p:sp>
            <p:nvSpPr>
              <p:cNvPr id="367" name="Rectangle 48"/>
              <p:cNvSpPr>
                <a:spLocks noChangeArrowheads="1"/>
              </p:cNvSpPr>
              <p:nvPr/>
            </p:nvSpPr>
            <p:spPr bwMode="auto">
              <a:xfrm>
                <a:off x="11312677" y="4385379"/>
                <a:ext cx="420734" cy="643192"/>
              </a:xfrm>
              <a:prstGeom prst="rect">
                <a:avLst/>
              </a:prstGeom>
              <a:solidFill>
                <a:schemeClr val="accent4">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6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6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3"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4"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5"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6"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7"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309" name="Group 308"/>
            <p:cNvGrpSpPr/>
            <p:nvPr/>
          </p:nvGrpSpPr>
          <p:grpSpPr>
            <a:xfrm>
              <a:off x="11687753" y="6037858"/>
              <a:ext cx="161865" cy="313735"/>
              <a:chOff x="8018355" y="6002801"/>
              <a:chExt cx="145517" cy="282046"/>
            </a:xfrm>
          </p:grpSpPr>
          <p:sp>
            <p:nvSpPr>
              <p:cNvPr id="364"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5"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6"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310" name="Group 309"/>
            <p:cNvGrpSpPr/>
            <p:nvPr/>
          </p:nvGrpSpPr>
          <p:grpSpPr>
            <a:xfrm>
              <a:off x="10037374" y="5016067"/>
              <a:ext cx="161865" cy="313735"/>
              <a:chOff x="8018355" y="6002801"/>
              <a:chExt cx="145517" cy="282046"/>
            </a:xfrm>
          </p:grpSpPr>
          <p:sp>
            <p:nvSpPr>
              <p:cNvPr id="361"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2"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3"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cxnSp>
          <p:nvCxnSpPr>
            <p:cNvPr id="311" name="Elbow Connector 310"/>
            <p:cNvCxnSpPr/>
            <p:nvPr/>
          </p:nvCxnSpPr>
          <p:spPr>
            <a:xfrm rot="16200000" flipH="1">
              <a:off x="2024764" y="5254647"/>
              <a:ext cx="568743" cy="2610784"/>
            </a:xfrm>
            <a:prstGeom prst="bentConnector2">
              <a:avLst/>
            </a:prstGeom>
            <a:ln w="381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2" name="Elbow Connector 311"/>
            <p:cNvCxnSpPr>
              <a:endCxn id="378" idx="3"/>
            </p:cNvCxnSpPr>
            <p:nvPr/>
          </p:nvCxnSpPr>
          <p:spPr>
            <a:xfrm rot="5400000" flipH="1" flipV="1">
              <a:off x="9353757" y="5262095"/>
              <a:ext cx="1180067" cy="80283"/>
            </a:xfrm>
            <a:prstGeom prst="bentConnector4">
              <a:avLst>
                <a:gd name="adj1" fmla="val 31790"/>
                <a:gd name="adj2" fmla="val 384743"/>
              </a:avLst>
            </a:prstGeom>
            <a:ln w="38100">
              <a:solidFill>
                <a:srgbClr val="00206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3" name="Elbow Connector 312"/>
            <p:cNvCxnSpPr>
              <a:stCxn id="367" idx="2"/>
              <a:endCxn id="328" idx="0"/>
            </p:cNvCxnSpPr>
            <p:nvPr/>
          </p:nvCxnSpPr>
          <p:spPr>
            <a:xfrm rot="16200000" flipH="1">
              <a:off x="7385538" y="3393946"/>
              <a:ext cx="783010" cy="4253207"/>
            </a:xfrm>
            <a:prstGeom prst="bentConnector3">
              <a:avLst>
                <a:gd name="adj1" fmla="val 50000"/>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4" name="Elbow Connector 313"/>
            <p:cNvCxnSpPr>
              <a:stCxn id="305" idx="0"/>
              <a:endCxn id="296" idx="0"/>
            </p:cNvCxnSpPr>
            <p:nvPr/>
          </p:nvCxnSpPr>
          <p:spPr>
            <a:xfrm rot="16200000" flipH="1">
              <a:off x="2219704" y="4369821"/>
              <a:ext cx="690295" cy="3122218"/>
            </a:xfrm>
            <a:prstGeom prst="bentConnector3">
              <a:avLst>
                <a:gd name="adj1" fmla="val -33116"/>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5" name="Rectangle 314"/>
            <p:cNvSpPr/>
            <p:nvPr/>
          </p:nvSpPr>
          <p:spPr>
            <a:xfrm>
              <a:off x="9167420" y="3792000"/>
              <a:ext cx="780292" cy="282423"/>
            </a:xfrm>
            <a:prstGeom prst="rect">
              <a:avLst/>
            </a:prstGeom>
          </p:spPr>
          <p:txBody>
            <a:bodyPr wrap="none">
              <a:spAutoFit/>
            </a:bodyPr>
            <a:lstStyle/>
            <a:p>
              <a:pPr algn="ctr"/>
              <a:r>
                <a:rPr lang="en-US" sz="1199" dirty="0">
                  <a:solidFill>
                    <a:srgbClr val="505050"/>
                  </a:solidFill>
                  <a:latin typeface="Arial" pitchFamily="34" charset="0"/>
                  <a:cs typeface="Arial" pitchFamily="34" charset="0"/>
                </a:rPr>
                <a:t>HMaster</a:t>
              </a:r>
              <a:endParaRPr lang="en-US" sz="1399" dirty="0">
                <a:solidFill>
                  <a:srgbClr val="505050"/>
                </a:solidFill>
                <a:latin typeface="Arial" pitchFamily="34" charset="0"/>
                <a:cs typeface="Arial" pitchFamily="34" charset="0"/>
              </a:endParaRPr>
            </a:p>
          </p:txBody>
        </p:sp>
        <p:sp>
          <p:nvSpPr>
            <p:cNvPr id="316" name="Rectangle 315"/>
            <p:cNvSpPr/>
            <p:nvPr/>
          </p:nvSpPr>
          <p:spPr>
            <a:xfrm>
              <a:off x="5089791" y="3951087"/>
              <a:ext cx="1072984" cy="282423"/>
            </a:xfrm>
            <a:prstGeom prst="rect">
              <a:avLst/>
            </a:prstGeom>
          </p:spPr>
          <p:txBody>
            <a:bodyPr wrap="none">
              <a:spAutoFit/>
            </a:bodyPr>
            <a:lstStyle/>
            <a:p>
              <a:pPr algn="ctr"/>
              <a:r>
                <a:rPr lang="en-US" sz="1199" dirty="0">
                  <a:solidFill>
                    <a:srgbClr val="505050"/>
                  </a:solidFill>
                  <a:latin typeface="Arial" pitchFamily="34" charset="0"/>
                  <a:cs typeface="Arial" pitchFamily="34" charset="0"/>
                </a:rPr>
                <a:t>Coordination</a:t>
              </a:r>
            </a:p>
          </p:txBody>
        </p:sp>
        <p:sp>
          <p:nvSpPr>
            <p:cNvPr id="317" name="Rectangle 316"/>
            <p:cNvSpPr/>
            <p:nvPr/>
          </p:nvSpPr>
          <p:spPr>
            <a:xfrm>
              <a:off x="2630507" y="5615270"/>
              <a:ext cx="1161281" cy="282423"/>
            </a:xfrm>
            <a:prstGeom prst="rect">
              <a:avLst/>
            </a:prstGeom>
          </p:spPr>
          <p:txBody>
            <a:bodyPr wrap="none">
              <a:spAutoFit/>
            </a:bodyPr>
            <a:lstStyle/>
            <a:p>
              <a:pPr algn="ctr"/>
              <a:r>
                <a:rPr lang="en-US" sz="1199" dirty="0">
                  <a:solidFill>
                    <a:srgbClr val="505050"/>
                  </a:solidFill>
                  <a:latin typeface="Arial" pitchFamily="34" charset="0"/>
                  <a:cs typeface="Arial" pitchFamily="34" charset="0"/>
                </a:rPr>
                <a:t>Region server</a:t>
              </a:r>
            </a:p>
          </p:txBody>
        </p:sp>
        <p:sp>
          <p:nvSpPr>
            <p:cNvPr id="318" name="Rectangle 317"/>
            <p:cNvSpPr/>
            <p:nvPr/>
          </p:nvSpPr>
          <p:spPr>
            <a:xfrm>
              <a:off x="4921140" y="5607184"/>
              <a:ext cx="1161281" cy="282423"/>
            </a:xfrm>
            <a:prstGeom prst="rect">
              <a:avLst/>
            </a:prstGeom>
          </p:spPr>
          <p:txBody>
            <a:bodyPr wrap="none">
              <a:spAutoFit/>
            </a:bodyPr>
            <a:lstStyle/>
            <a:p>
              <a:pPr algn="ctr"/>
              <a:r>
                <a:rPr lang="en-US" sz="1199" dirty="0">
                  <a:solidFill>
                    <a:srgbClr val="FFFFFF"/>
                  </a:solidFill>
                  <a:latin typeface="Arial" pitchFamily="34" charset="0"/>
                  <a:cs typeface="Arial" pitchFamily="34" charset="0"/>
                </a:rPr>
                <a:t>Region server</a:t>
              </a:r>
            </a:p>
          </p:txBody>
        </p:sp>
        <p:sp>
          <p:nvSpPr>
            <p:cNvPr id="319" name="Rectangle 318"/>
            <p:cNvSpPr/>
            <p:nvPr/>
          </p:nvSpPr>
          <p:spPr>
            <a:xfrm>
              <a:off x="7073330" y="5617457"/>
              <a:ext cx="1161281" cy="282423"/>
            </a:xfrm>
            <a:prstGeom prst="rect">
              <a:avLst/>
            </a:prstGeom>
          </p:spPr>
          <p:txBody>
            <a:bodyPr wrap="none">
              <a:spAutoFit/>
            </a:bodyPr>
            <a:lstStyle/>
            <a:p>
              <a:pPr algn="ctr"/>
              <a:r>
                <a:rPr lang="en-US" sz="1199" dirty="0">
                  <a:solidFill>
                    <a:srgbClr val="FFFFFF"/>
                  </a:solidFill>
                  <a:latin typeface="Arial" pitchFamily="34" charset="0"/>
                  <a:cs typeface="Arial" pitchFamily="34" charset="0"/>
                </a:rPr>
                <a:t>Region server</a:t>
              </a:r>
            </a:p>
          </p:txBody>
        </p:sp>
        <p:sp>
          <p:nvSpPr>
            <p:cNvPr id="320" name="Rectangle 319"/>
            <p:cNvSpPr/>
            <p:nvPr/>
          </p:nvSpPr>
          <p:spPr>
            <a:xfrm>
              <a:off x="9342876" y="5630737"/>
              <a:ext cx="1161281" cy="282423"/>
            </a:xfrm>
            <a:prstGeom prst="rect">
              <a:avLst/>
            </a:prstGeom>
          </p:spPr>
          <p:txBody>
            <a:bodyPr wrap="none">
              <a:spAutoFit/>
            </a:bodyPr>
            <a:lstStyle/>
            <a:p>
              <a:pPr algn="ctr"/>
              <a:r>
                <a:rPr lang="en-US" sz="1199" dirty="0">
                  <a:solidFill>
                    <a:srgbClr val="FFFFFF"/>
                  </a:solidFill>
                  <a:latin typeface="Arial" pitchFamily="34" charset="0"/>
                  <a:cs typeface="Arial" pitchFamily="34" charset="0"/>
                </a:rPr>
                <a:t>Region server</a:t>
              </a:r>
            </a:p>
          </p:txBody>
        </p:sp>
        <p:cxnSp>
          <p:nvCxnSpPr>
            <p:cNvPr id="321" name="Elbow Connector 320"/>
            <p:cNvCxnSpPr>
              <a:endCxn id="297" idx="0"/>
            </p:cNvCxnSpPr>
            <p:nvPr/>
          </p:nvCxnSpPr>
          <p:spPr>
            <a:xfrm>
              <a:off x="5804579" y="6031355"/>
              <a:ext cx="600588" cy="244723"/>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2" name="Group 332"/>
            <p:cNvGrpSpPr/>
            <p:nvPr/>
          </p:nvGrpSpPr>
          <p:grpSpPr>
            <a:xfrm>
              <a:off x="5117256" y="5913186"/>
              <a:ext cx="715124" cy="1093238"/>
              <a:chOff x="11312677" y="4385379"/>
              <a:chExt cx="420734" cy="643192"/>
            </a:xfrm>
          </p:grpSpPr>
          <p:sp>
            <p:nvSpPr>
              <p:cNvPr id="35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6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cxnSp>
          <p:nvCxnSpPr>
            <p:cNvPr id="323" name="Elbow Connector 322"/>
            <p:cNvCxnSpPr>
              <a:endCxn id="298" idx="0"/>
            </p:cNvCxnSpPr>
            <p:nvPr/>
          </p:nvCxnSpPr>
          <p:spPr>
            <a:xfrm>
              <a:off x="7945071" y="6086296"/>
              <a:ext cx="616196" cy="189782"/>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4" name="Elbow Connector 323"/>
            <p:cNvCxnSpPr>
              <a:endCxn id="299" idx="0"/>
            </p:cNvCxnSpPr>
            <p:nvPr/>
          </p:nvCxnSpPr>
          <p:spPr>
            <a:xfrm>
              <a:off x="10205272" y="6095564"/>
              <a:ext cx="616511" cy="180514"/>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5" name="Group 332"/>
            <p:cNvGrpSpPr/>
            <p:nvPr/>
          </p:nvGrpSpPr>
          <p:grpSpPr>
            <a:xfrm>
              <a:off x="7283543" y="5913186"/>
              <a:ext cx="715124" cy="1093238"/>
              <a:chOff x="11312677" y="4385379"/>
              <a:chExt cx="420734" cy="643192"/>
            </a:xfrm>
          </p:grpSpPr>
          <p:sp>
            <p:nvSpPr>
              <p:cNvPr id="339"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5"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6"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7"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8"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9"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326" name="Group 332"/>
            <p:cNvGrpSpPr/>
            <p:nvPr/>
          </p:nvGrpSpPr>
          <p:grpSpPr>
            <a:xfrm>
              <a:off x="9546085" y="5912055"/>
              <a:ext cx="715124" cy="1093238"/>
              <a:chOff x="11312677" y="4385379"/>
              <a:chExt cx="420734" cy="643192"/>
            </a:xfrm>
          </p:grpSpPr>
          <p:sp>
            <p:nvSpPr>
              <p:cNvPr id="32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2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cxnSp>
          <p:nvCxnSpPr>
            <p:cNvPr id="327" name="Straight Arrow Connector 326"/>
            <p:cNvCxnSpPr/>
            <p:nvPr/>
          </p:nvCxnSpPr>
          <p:spPr>
            <a:xfrm flipH="1">
              <a:off x="6468161" y="4701444"/>
              <a:ext cx="2700160" cy="14615"/>
            </a:xfrm>
            <a:prstGeom prst="straightConnector1">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448" name="Picture 4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85728" y="545513"/>
            <a:ext cx="2657271" cy="656853"/>
          </a:xfrm>
          <a:prstGeom prst="rect">
            <a:avLst/>
          </a:prstGeom>
        </p:spPr>
      </p:pic>
      <p:sp>
        <p:nvSpPr>
          <p:cNvPr id="449" name="Text Placeholder 2"/>
          <p:cNvSpPr txBox="1">
            <a:spLocks/>
          </p:cNvSpPr>
          <p:nvPr/>
        </p:nvSpPr>
        <p:spPr>
          <a:xfrm>
            <a:off x="285197" y="1377748"/>
            <a:ext cx="11887878" cy="1757534"/>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NoSQL database on data in HDInsight</a:t>
            </a:r>
          </a:p>
          <a:p>
            <a:pPr lvl="1"/>
            <a:r>
              <a:rPr lang="en-US" sz="1836" dirty="0"/>
              <a:t>Columnar, NoSQL database</a:t>
            </a:r>
          </a:p>
          <a:p>
            <a:pPr lvl="1"/>
            <a:r>
              <a:rPr lang="en-US" sz="1836" dirty="0"/>
              <a:t>Runs on top of Hadoop Distributed File System (HDFS)</a:t>
            </a:r>
          </a:p>
          <a:p>
            <a:pPr lvl="1"/>
            <a:r>
              <a:rPr lang="en-US" sz="1836" dirty="0"/>
              <a:t>Provides flexibility for new columns to be added to column families at any time</a:t>
            </a:r>
          </a:p>
        </p:txBody>
      </p:sp>
    </p:spTree>
    <p:extLst>
      <p:ext uri="{BB962C8B-B14F-4D97-AF65-F5344CB8AC3E}">
        <p14:creationId xmlns:p14="http://schemas.microsoft.com/office/powerpoint/2010/main" val="117923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1000"/>
                                        <p:tgtEl>
                                          <p:spTgt spid="283"/>
                                        </p:tgtEl>
                                      </p:cBhvr>
                                    </p:animEffect>
                                    <p:anim calcmode="lin" valueType="num">
                                      <p:cBhvr>
                                        <p:cTn id="8" dur="1000" fill="hold"/>
                                        <p:tgtEl>
                                          <p:spTgt spid="283"/>
                                        </p:tgtEl>
                                        <p:attrNameLst>
                                          <p:attrName>ppt_x</p:attrName>
                                        </p:attrNameLst>
                                      </p:cBhvr>
                                      <p:tavLst>
                                        <p:tav tm="0">
                                          <p:val>
                                            <p:strVal val="#ppt_x"/>
                                          </p:val>
                                        </p:tav>
                                        <p:tav tm="100000">
                                          <p:val>
                                            <p:strVal val="#ppt_x"/>
                                          </p:val>
                                        </p:tav>
                                      </p:tavLst>
                                    </p:anim>
                                    <p:anim calcmode="lin" valueType="num">
                                      <p:cBhvr>
                                        <p:cTn id="9" dur="1000" fill="hold"/>
                                        <p:tgtEl>
                                          <p:spTgt spid="283"/>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449">
                                            <p:txEl>
                                              <p:pRg st="0" end="0"/>
                                            </p:txEl>
                                          </p:spTgt>
                                        </p:tgtEl>
                                        <p:attrNameLst>
                                          <p:attrName>style.visibility</p:attrName>
                                        </p:attrNameLst>
                                      </p:cBhvr>
                                      <p:to>
                                        <p:strVal val="visible"/>
                                      </p:to>
                                    </p:set>
                                    <p:animEffect transition="in" filter="fade">
                                      <p:cBhvr>
                                        <p:cTn id="12" dur="750"/>
                                        <p:tgtEl>
                                          <p:spTgt spid="449">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49">
                                            <p:txEl>
                                              <p:pRg st="1" end="1"/>
                                            </p:txEl>
                                          </p:spTgt>
                                        </p:tgtEl>
                                        <p:attrNameLst>
                                          <p:attrName>style.visibility</p:attrName>
                                        </p:attrNameLst>
                                      </p:cBhvr>
                                      <p:to>
                                        <p:strVal val="visible"/>
                                      </p:to>
                                    </p:set>
                                    <p:animEffect transition="in" filter="fade">
                                      <p:cBhvr>
                                        <p:cTn id="15" dur="750"/>
                                        <p:tgtEl>
                                          <p:spTgt spid="449">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49">
                                            <p:txEl>
                                              <p:pRg st="2" end="2"/>
                                            </p:txEl>
                                          </p:spTgt>
                                        </p:tgtEl>
                                        <p:attrNameLst>
                                          <p:attrName>style.visibility</p:attrName>
                                        </p:attrNameLst>
                                      </p:cBhvr>
                                      <p:to>
                                        <p:strVal val="visible"/>
                                      </p:to>
                                    </p:set>
                                    <p:animEffect transition="in" filter="fade">
                                      <p:cBhvr>
                                        <p:cTn id="18" dur="750"/>
                                        <p:tgtEl>
                                          <p:spTgt spid="449">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49">
                                            <p:txEl>
                                              <p:pRg st="3" end="3"/>
                                            </p:txEl>
                                          </p:spTgt>
                                        </p:tgtEl>
                                        <p:attrNameLst>
                                          <p:attrName>style.visibility</p:attrName>
                                        </p:attrNameLst>
                                      </p:cBhvr>
                                      <p:to>
                                        <p:strVal val="visible"/>
                                      </p:to>
                                    </p:set>
                                    <p:animEffect transition="in" filter="fade">
                                      <p:cBhvr>
                                        <p:cTn id="21" dur="750"/>
                                        <p:tgtEl>
                                          <p:spTgt spid="44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00617" y="369116"/>
            <a:ext cx="10971244" cy="1024684"/>
          </a:xfrm>
        </p:spPr>
        <p:txBody>
          <a:bodyPr/>
          <a:lstStyle/>
          <a:p>
            <a:r>
              <a:rPr lang="en-US" dirty="0">
                <a:solidFill>
                  <a:schemeClr val="tx1"/>
                </a:solidFill>
              </a:rPr>
              <a:t>HDInsight supports Mahout</a:t>
            </a:r>
          </a:p>
        </p:txBody>
      </p:sp>
      <p:pic>
        <p:nvPicPr>
          <p:cNvPr id="170" name="Picture 16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25803" y="228672"/>
            <a:ext cx="2270170" cy="941762"/>
          </a:xfrm>
          <a:prstGeom prst="rect">
            <a:avLst/>
          </a:prstGeom>
        </p:spPr>
      </p:pic>
      <p:sp>
        <p:nvSpPr>
          <p:cNvPr id="171" name="Text Placeholder 2"/>
          <p:cNvSpPr txBox="1">
            <a:spLocks/>
          </p:cNvSpPr>
          <p:nvPr/>
        </p:nvSpPr>
        <p:spPr>
          <a:xfrm>
            <a:off x="168770" y="1213174"/>
            <a:ext cx="12513926" cy="1757534"/>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Machine learning library </a:t>
            </a:r>
          </a:p>
          <a:p>
            <a:pPr lvl="1"/>
            <a:r>
              <a:rPr lang="en-US" sz="1836" dirty="0"/>
              <a:t>A library of machine learning algorithms to execute on data in HDFS</a:t>
            </a:r>
          </a:p>
          <a:p>
            <a:pPr lvl="1"/>
            <a:r>
              <a:rPr lang="en-US" sz="1836" dirty="0"/>
              <a:t>Algorithms are not dependent on size of data and can scale with large data sets</a:t>
            </a:r>
          </a:p>
          <a:p>
            <a:pPr lvl="1"/>
            <a:r>
              <a:rPr lang="en-US" sz="1836" dirty="0"/>
              <a:t>Library includes: collaborative filtering, classification, clustering, dimensionality reduction, topic models</a:t>
            </a:r>
            <a:r>
              <a:rPr lang="en-US" sz="1836" dirty="0">
                <a:solidFill>
                  <a:schemeClr val="accent2"/>
                </a:solidFill>
              </a:rPr>
              <a:t> </a:t>
            </a:r>
          </a:p>
        </p:txBody>
      </p:sp>
      <p:grpSp>
        <p:nvGrpSpPr>
          <p:cNvPr id="172" name="Group 171"/>
          <p:cNvGrpSpPr/>
          <p:nvPr/>
        </p:nvGrpSpPr>
        <p:grpSpPr>
          <a:xfrm>
            <a:off x="332390" y="3078225"/>
            <a:ext cx="11627738" cy="3709459"/>
            <a:chOff x="430722" y="3078164"/>
            <a:chExt cx="11530219" cy="3709986"/>
          </a:xfrm>
        </p:grpSpPr>
        <p:sp>
          <p:nvSpPr>
            <p:cNvPr id="173" name="Rectangle 172"/>
            <p:cNvSpPr/>
            <p:nvPr>
              <p:custDataLst>
                <p:tags r:id="rId1"/>
              </p:custDataLst>
            </p:nvPr>
          </p:nvSpPr>
          <p:spPr bwMode="auto">
            <a:xfrm>
              <a:off x="430722" y="3078164"/>
              <a:ext cx="11530219" cy="3709986"/>
            </a:xfrm>
            <a:prstGeom prst="rect">
              <a:avLst/>
            </a:prstGeom>
            <a:noFill/>
            <a:ln w="635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a:lnSpc>
                  <a:spcPct val="90000"/>
                </a:lnSpc>
                <a:spcBef>
                  <a:spcPct val="20000"/>
                </a:spcBef>
                <a:buSzPct val="80000"/>
              </a:pPr>
              <a:endParaRPr lang="en-US" sz="1399" b="1" dirty="0">
                <a:ln>
                  <a:solidFill>
                    <a:srgbClr val="FFFFFF">
                      <a:alpha val="0"/>
                    </a:srgbClr>
                  </a:solidFill>
                </a:ln>
                <a:solidFill>
                  <a:srgbClr val="595959"/>
                </a:solidFill>
              </a:endParaRPr>
            </a:p>
          </p:txBody>
        </p:sp>
        <p:grpSp>
          <p:nvGrpSpPr>
            <p:cNvPr id="174" name="Group 173"/>
            <p:cNvGrpSpPr/>
            <p:nvPr/>
          </p:nvGrpSpPr>
          <p:grpSpPr>
            <a:xfrm>
              <a:off x="2766831" y="3369529"/>
              <a:ext cx="6858000" cy="3091499"/>
              <a:chOff x="2024903" y="3349642"/>
              <a:chExt cx="6858000" cy="3091499"/>
            </a:xfrm>
          </p:grpSpPr>
          <p:sp>
            <p:nvSpPr>
              <p:cNvPr id="175" name="Oval 174"/>
              <p:cNvSpPr/>
              <p:nvPr/>
            </p:nvSpPr>
            <p:spPr bwMode="auto">
              <a:xfrm>
                <a:off x="3200395" y="52577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6" name="Oval 175"/>
              <p:cNvSpPr/>
              <p:nvPr/>
            </p:nvSpPr>
            <p:spPr bwMode="auto">
              <a:xfrm>
                <a:off x="3352795" y="54101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7" name="Oval 176"/>
              <p:cNvSpPr/>
              <p:nvPr/>
            </p:nvSpPr>
            <p:spPr bwMode="auto">
              <a:xfrm>
                <a:off x="3505195" y="55625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8" name="Oval 177"/>
              <p:cNvSpPr/>
              <p:nvPr/>
            </p:nvSpPr>
            <p:spPr bwMode="auto">
              <a:xfrm>
                <a:off x="3657595" y="57149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9" name="Oval 178"/>
              <p:cNvSpPr/>
              <p:nvPr/>
            </p:nvSpPr>
            <p:spPr bwMode="auto">
              <a:xfrm>
                <a:off x="3200395" y="561190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0" name="Oval 179"/>
              <p:cNvSpPr/>
              <p:nvPr/>
            </p:nvSpPr>
            <p:spPr bwMode="auto">
              <a:xfrm>
                <a:off x="3809995" y="544829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1" name="Oval 180"/>
              <p:cNvSpPr/>
              <p:nvPr/>
            </p:nvSpPr>
            <p:spPr bwMode="auto">
              <a:xfrm>
                <a:off x="3619495" y="522754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2" name="Oval 181"/>
              <p:cNvSpPr/>
              <p:nvPr/>
            </p:nvSpPr>
            <p:spPr bwMode="auto">
              <a:xfrm>
                <a:off x="3809995" y="58673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3" name="Oval 182"/>
              <p:cNvSpPr/>
              <p:nvPr/>
            </p:nvSpPr>
            <p:spPr bwMode="auto">
              <a:xfrm>
                <a:off x="4917134" y="50067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4" name="Oval 183"/>
              <p:cNvSpPr/>
              <p:nvPr/>
            </p:nvSpPr>
            <p:spPr bwMode="auto">
              <a:xfrm>
                <a:off x="5082981" y="51591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5" name="Oval 184"/>
              <p:cNvSpPr/>
              <p:nvPr/>
            </p:nvSpPr>
            <p:spPr bwMode="auto">
              <a:xfrm>
                <a:off x="5197281" y="49552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6" name="Oval 185"/>
              <p:cNvSpPr/>
              <p:nvPr/>
            </p:nvSpPr>
            <p:spPr bwMode="auto">
              <a:xfrm>
                <a:off x="5363128" y="51076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7" name="Oval 186"/>
              <p:cNvSpPr/>
              <p:nvPr/>
            </p:nvSpPr>
            <p:spPr bwMode="auto">
              <a:xfrm>
                <a:off x="5304857" y="53474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8" name="Oval 187"/>
              <p:cNvSpPr/>
              <p:nvPr/>
            </p:nvSpPr>
            <p:spPr bwMode="auto">
              <a:xfrm>
                <a:off x="5470704" y="54998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9" name="Oval 188"/>
              <p:cNvSpPr/>
              <p:nvPr/>
            </p:nvSpPr>
            <p:spPr bwMode="auto">
              <a:xfrm>
                <a:off x="5528975" y="49496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0" name="Oval 189"/>
              <p:cNvSpPr/>
              <p:nvPr/>
            </p:nvSpPr>
            <p:spPr bwMode="auto">
              <a:xfrm>
                <a:off x="5694822" y="51020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1" name="Oval 190"/>
              <p:cNvSpPr/>
              <p:nvPr/>
            </p:nvSpPr>
            <p:spPr bwMode="auto">
              <a:xfrm>
                <a:off x="5571556" y="53059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2" name="Oval 191"/>
              <p:cNvSpPr/>
              <p:nvPr/>
            </p:nvSpPr>
            <p:spPr bwMode="auto">
              <a:xfrm>
                <a:off x="5737403" y="54583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3" name="Oval 192"/>
              <p:cNvSpPr/>
              <p:nvPr/>
            </p:nvSpPr>
            <p:spPr bwMode="auto">
              <a:xfrm>
                <a:off x="4602248" y="53283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4" name="Oval 193"/>
              <p:cNvSpPr/>
              <p:nvPr/>
            </p:nvSpPr>
            <p:spPr bwMode="auto">
              <a:xfrm>
                <a:off x="4768095" y="54807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5" name="Oval 194"/>
              <p:cNvSpPr/>
              <p:nvPr/>
            </p:nvSpPr>
            <p:spPr bwMode="auto">
              <a:xfrm>
                <a:off x="6869195" y="47994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6" name="Oval 195"/>
              <p:cNvSpPr/>
              <p:nvPr/>
            </p:nvSpPr>
            <p:spPr bwMode="auto">
              <a:xfrm>
                <a:off x="7035042" y="49518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7" name="Oval 196"/>
              <p:cNvSpPr/>
              <p:nvPr/>
            </p:nvSpPr>
            <p:spPr bwMode="auto">
              <a:xfrm>
                <a:off x="6920742" y="45372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8" name="Oval 197"/>
              <p:cNvSpPr/>
              <p:nvPr/>
            </p:nvSpPr>
            <p:spPr bwMode="auto">
              <a:xfrm>
                <a:off x="7086589"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9" name="Oval 198"/>
              <p:cNvSpPr/>
              <p:nvPr/>
            </p:nvSpPr>
            <p:spPr bwMode="auto">
              <a:xfrm>
                <a:off x="7268124"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0" name="Oval 199"/>
              <p:cNvSpPr/>
              <p:nvPr/>
            </p:nvSpPr>
            <p:spPr bwMode="auto">
              <a:xfrm>
                <a:off x="7433971" y="49944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1" name="Oval 200"/>
              <p:cNvSpPr/>
              <p:nvPr/>
            </p:nvSpPr>
            <p:spPr bwMode="auto">
              <a:xfrm>
                <a:off x="7044004" y="43255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2" name="Oval 201"/>
              <p:cNvSpPr/>
              <p:nvPr/>
            </p:nvSpPr>
            <p:spPr bwMode="auto">
              <a:xfrm>
                <a:off x="7209851"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3" name="Oval 202"/>
              <p:cNvSpPr/>
              <p:nvPr/>
            </p:nvSpPr>
            <p:spPr bwMode="auto">
              <a:xfrm>
                <a:off x="7418283"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4" name="Oval 203"/>
              <p:cNvSpPr/>
              <p:nvPr/>
            </p:nvSpPr>
            <p:spPr bwMode="auto">
              <a:xfrm>
                <a:off x="7584130"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5" name="Oval 204"/>
              <p:cNvSpPr/>
              <p:nvPr/>
            </p:nvSpPr>
            <p:spPr bwMode="auto">
              <a:xfrm>
                <a:off x="7496724"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6" name="Oval 205"/>
              <p:cNvSpPr/>
              <p:nvPr/>
            </p:nvSpPr>
            <p:spPr bwMode="auto">
              <a:xfrm>
                <a:off x="7662571" y="46303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7" name="Oval 206"/>
              <p:cNvSpPr/>
              <p:nvPr/>
            </p:nvSpPr>
            <p:spPr bwMode="auto">
              <a:xfrm>
                <a:off x="2635624" y="4799478"/>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8" name="Oval 207"/>
              <p:cNvSpPr/>
              <p:nvPr/>
            </p:nvSpPr>
            <p:spPr bwMode="auto">
              <a:xfrm>
                <a:off x="4481230" y="4463400"/>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9" name="Oval 208"/>
              <p:cNvSpPr/>
              <p:nvPr/>
            </p:nvSpPr>
            <p:spPr bwMode="auto">
              <a:xfrm>
                <a:off x="6418709" y="3941103"/>
                <a:ext cx="1645920" cy="1641663"/>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cxnSp>
            <p:nvCxnSpPr>
              <p:cNvPr id="210" name="Straight Connector 209"/>
              <p:cNvCxnSpPr/>
              <p:nvPr/>
            </p:nvCxnSpPr>
            <p:spPr>
              <a:xfrm>
                <a:off x="2043953" y="3349642"/>
                <a:ext cx="0" cy="309149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flipH="1" flipV="1">
                <a:off x="2024903" y="6441141"/>
                <a:ext cx="685800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762902" y="3308920"/>
            <a:ext cx="2938399" cy="382308"/>
          </a:xfrm>
          <a:prstGeom prst="rect">
            <a:avLst/>
          </a:prstGeom>
        </p:spPr>
        <p:txBody>
          <a:bodyPr wrap="none">
            <a:spAutoFit/>
          </a:bodyPr>
          <a:lstStyle/>
          <a:p>
            <a:r>
              <a:rPr lang="en-US" sz="1836" dirty="0"/>
              <a:t>HDInsight supports Storm</a:t>
            </a:r>
          </a:p>
        </p:txBody>
      </p:sp>
    </p:spTree>
    <p:extLst>
      <p:ext uri="{BB962C8B-B14F-4D97-AF65-F5344CB8AC3E}">
        <p14:creationId xmlns:p14="http://schemas.microsoft.com/office/powerpoint/2010/main" val="322948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1">
                                            <p:txEl>
                                              <p:pRg st="0" end="0"/>
                                            </p:txEl>
                                          </p:spTgt>
                                        </p:tgtEl>
                                        <p:attrNameLst>
                                          <p:attrName>style.visibility</p:attrName>
                                        </p:attrNameLst>
                                      </p:cBhvr>
                                      <p:to>
                                        <p:strVal val="visible"/>
                                      </p:to>
                                    </p:set>
                                    <p:animEffect transition="in" filter="fade">
                                      <p:cBhvr>
                                        <p:cTn id="7" dur="750"/>
                                        <p:tgtEl>
                                          <p:spTgt spid="17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1">
                                            <p:txEl>
                                              <p:pRg st="1" end="1"/>
                                            </p:txEl>
                                          </p:spTgt>
                                        </p:tgtEl>
                                        <p:attrNameLst>
                                          <p:attrName>style.visibility</p:attrName>
                                        </p:attrNameLst>
                                      </p:cBhvr>
                                      <p:to>
                                        <p:strVal val="visible"/>
                                      </p:to>
                                    </p:set>
                                    <p:animEffect transition="in" filter="fade">
                                      <p:cBhvr>
                                        <p:cTn id="10" dur="750"/>
                                        <p:tgtEl>
                                          <p:spTgt spid="17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1">
                                            <p:txEl>
                                              <p:pRg st="2" end="2"/>
                                            </p:txEl>
                                          </p:spTgt>
                                        </p:tgtEl>
                                        <p:attrNameLst>
                                          <p:attrName>style.visibility</p:attrName>
                                        </p:attrNameLst>
                                      </p:cBhvr>
                                      <p:to>
                                        <p:strVal val="visible"/>
                                      </p:to>
                                    </p:set>
                                    <p:animEffect transition="in" filter="fade">
                                      <p:cBhvr>
                                        <p:cTn id="13" dur="750"/>
                                        <p:tgtEl>
                                          <p:spTgt spid="17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1">
                                            <p:txEl>
                                              <p:pRg st="3" end="3"/>
                                            </p:txEl>
                                          </p:spTgt>
                                        </p:tgtEl>
                                        <p:attrNameLst>
                                          <p:attrName>style.visibility</p:attrName>
                                        </p:attrNameLst>
                                      </p:cBhvr>
                                      <p:to>
                                        <p:strVal val="visible"/>
                                      </p:to>
                                    </p:set>
                                    <p:animEffect transition="in" filter="fade">
                                      <p:cBhvr>
                                        <p:cTn id="16" dur="750"/>
                                        <p:tgtEl>
                                          <p:spTgt spid="171">
                                            <p:txEl>
                                              <p:pRg st="3" end="3"/>
                                            </p:txEl>
                                          </p:spTgt>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172"/>
                                        </p:tgtEl>
                                        <p:attrNameLst>
                                          <p:attrName>style.visibility</p:attrName>
                                        </p:attrNameLst>
                                      </p:cBhvr>
                                      <p:to>
                                        <p:strVal val="visible"/>
                                      </p:to>
                                    </p:set>
                                    <p:animEffect transition="in" filter="wipe(left)">
                                      <p:cBhvr>
                                        <p:cTn id="20" dur="75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1"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75480" y="252540"/>
            <a:ext cx="10971244" cy="1024684"/>
          </a:xfrm>
        </p:spPr>
        <p:txBody>
          <a:bodyPr/>
          <a:lstStyle/>
          <a:p>
            <a:r>
              <a:rPr lang="en-US" dirty="0">
                <a:solidFill>
                  <a:schemeClr val="tx1"/>
                </a:solidFill>
              </a:rPr>
              <a:t>HDInsight supports Storm</a:t>
            </a:r>
          </a:p>
        </p:txBody>
      </p:sp>
      <p:sp>
        <p:nvSpPr>
          <p:cNvPr id="46" name="Text Placeholder 2"/>
          <p:cNvSpPr txBox="1">
            <a:spLocks/>
          </p:cNvSpPr>
          <p:nvPr/>
        </p:nvSpPr>
        <p:spPr>
          <a:xfrm>
            <a:off x="381179" y="1206156"/>
            <a:ext cx="12488312" cy="2265468"/>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Stream Analytics for near real-time processing</a:t>
            </a:r>
          </a:p>
          <a:p>
            <a:pPr lvl="1"/>
            <a:r>
              <a:rPr lang="en-US" sz="1530" dirty="0"/>
              <a:t>Consumes millions of real-time events from scalable event broker (i.e., Apache Kafka, Azure Event Hub)</a:t>
            </a:r>
          </a:p>
          <a:p>
            <a:pPr lvl="1"/>
            <a:r>
              <a:rPr lang="en-US" sz="1530" dirty="0"/>
              <a:t>Performs time-sensitive computation</a:t>
            </a:r>
          </a:p>
          <a:p>
            <a:pPr lvl="1"/>
            <a:r>
              <a:rPr lang="en-US" sz="1530" dirty="0"/>
              <a:t>Outputs to persistent stores, dashboards, or devices</a:t>
            </a:r>
          </a:p>
          <a:p>
            <a:pPr lvl="1"/>
            <a:r>
              <a:rPr lang="en-US" sz="1530" dirty="0"/>
              <a:t>Customizable with Java + .NET</a:t>
            </a:r>
          </a:p>
          <a:p>
            <a:pPr lvl="1"/>
            <a:r>
              <a:rPr lang="en-US" sz="1530" dirty="0"/>
              <a:t>Deeply integrated to Visual Studio</a:t>
            </a:r>
          </a:p>
        </p:txBody>
      </p:sp>
      <p:pic>
        <p:nvPicPr>
          <p:cNvPr id="47" name="Picture 4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638618" y="201641"/>
            <a:ext cx="2519988" cy="919796"/>
          </a:xfrm>
          <a:prstGeom prst="rect">
            <a:avLst/>
          </a:prstGeom>
        </p:spPr>
      </p:pic>
      <p:sp>
        <p:nvSpPr>
          <p:cNvPr id="48" name="Rectangle 47"/>
          <p:cNvSpPr/>
          <p:nvPr>
            <p:custDataLst>
              <p:tags r:id="rId1"/>
            </p:custDataLst>
          </p:nvPr>
        </p:nvSpPr>
        <p:spPr bwMode="auto">
          <a:xfrm>
            <a:off x="377755" y="3001059"/>
            <a:ext cx="11528584" cy="37094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a:lnSpc>
                <a:spcPct val="90000"/>
              </a:lnSpc>
              <a:spcBef>
                <a:spcPct val="20000"/>
              </a:spcBef>
              <a:buSzPct val="80000"/>
            </a:pPr>
            <a:endParaRPr lang="en-US" sz="1399" b="1" dirty="0">
              <a:ln>
                <a:solidFill>
                  <a:srgbClr val="FFFFFF">
                    <a:alpha val="0"/>
                  </a:srgbClr>
                </a:solidFill>
              </a:ln>
              <a:solidFill>
                <a:srgbClr val="595959"/>
              </a:solidFill>
            </a:endParaRPr>
          </a:p>
        </p:txBody>
      </p:sp>
      <p:grpSp>
        <p:nvGrpSpPr>
          <p:cNvPr id="49" name="Group 48"/>
          <p:cNvGrpSpPr/>
          <p:nvPr/>
        </p:nvGrpSpPr>
        <p:grpSpPr>
          <a:xfrm>
            <a:off x="1763411" y="3045722"/>
            <a:ext cx="8636578" cy="3664797"/>
            <a:chOff x="269240" y="1189495"/>
            <a:chExt cx="11754926" cy="5376993"/>
          </a:xfrm>
        </p:grpSpPr>
        <p:sp>
          <p:nvSpPr>
            <p:cNvPr id="50" name="Rectangle 49"/>
            <p:cNvSpPr/>
            <p:nvPr/>
          </p:nvSpPr>
          <p:spPr bwMode="auto">
            <a:xfrm>
              <a:off x="269240"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1" name="Rectangle 50"/>
            <p:cNvSpPr/>
            <p:nvPr/>
          </p:nvSpPr>
          <p:spPr bwMode="auto">
            <a:xfrm>
              <a:off x="2241685"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2" name="Rectangle 51"/>
            <p:cNvSpPr/>
            <p:nvPr/>
          </p:nvSpPr>
          <p:spPr bwMode="auto">
            <a:xfrm>
              <a:off x="4214131"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3" name="Rectangle 52"/>
            <p:cNvSpPr/>
            <p:nvPr/>
          </p:nvSpPr>
          <p:spPr bwMode="auto">
            <a:xfrm>
              <a:off x="6186576"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4" name="Rectangle 53"/>
            <p:cNvSpPr/>
            <p:nvPr/>
          </p:nvSpPr>
          <p:spPr bwMode="auto">
            <a:xfrm>
              <a:off x="8159021"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5" name="Rectangle 54"/>
            <p:cNvSpPr/>
            <p:nvPr/>
          </p:nvSpPr>
          <p:spPr bwMode="auto">
            <a:xfrm>
              <a:off x="10131468" y="1840761"/>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grpSp>
          <p:nvGrpSpPr>
            <p:cNvPr id="56" name="Group 55"/>
            <p:cNvGrpSpPr/>
            <p:nvPr/>
          </p:nvGrpSpPr>
          <p:grpSpPr>
            <a:xfrm>
              <a:off x="2420700" y="2089033"/>
              <a:ext cx="7352158" cy="4293518"/>
              <a:chOff x="2469239" y="2130426"/>
              <a:chExt cx="7499584" cy="4379612"/>
            </a:xfrm>
          </p:grpSpPr>
          <p:sp>
            <p:nvSpPr>
              <p:cNvPr id="134" name="Oval 133"/>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35" name="Freeform 134"/>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36" name="Freeform 135"/>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37" name="Freeform 136"/>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grpSp>
        <p:grpSp>
          <p:nvGrpSpPr>
            <p:cNvPr id="57" name="Group 56"/>
            <p:cNvGrpSpPr/>
            <p:nvPr/>
          </p:nvGrpSpPr>
          <p:grpSpPr>
            <a:xfrm>
              <a:off x="269241" y="1189495"/>
              <a:ext cx="11655081" cy="717140"/>
              <a:chOff x="274638" y="1212850"/>
              <a:chExt cx="11888787" cy="731520"/>
            </a:xfrm>
          </p:grpSpPr>
          <p:sp>
            <p:nvSpPr>
              <p:cNvPr id="123" name="Rectangle 122"/>
              <p:cNvSpPr/>
              <p:nvPr/>
            </p:nvSpPr>
            <p:spPr bwMode="auto">
              <a:xfrm>
                <a:off x="4298632"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Event queuing system</a:t>
                </a:r>
              </a:p>
            </p:txBody>
          </p:sp>
          <p:sp>
            <p:nvSpPr>
              <p:cNvPr id="124" name="Right Arrow 123"/>
              <p:cNvSpPr/>
              <p:nvPr/>
            </p:nvSpPr>
            <p:spPr bwMode="auto">
              <a:xfrm>
                <a:off x="3996722"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25" name="Rectangle 124"/>
              <p:cNvSpPr/>
              <p:nvPr/>
            </p:nvSpPr>
            <p:spPr bwMode="auto">
              <a:xfrm>
                <a:off x="2286635"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26" name="Right Arrow 125"/>
              <p:cNvSpPr/>
              <p:nvPr/>
            </p:nvSpPr>
            <p:spPr bwMode="auto">
              <a:xfrm>
                <a:off x="1984725"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27" name="Rectangle 126"/>
              <p:cNvSpPr/>
              <p:nvPr/>
            </p:nvSpPr>
            <p:spPr bwMode="auto">
              <a:xfrm>
                <a:off x="10334625"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28" name="Right Arrow 127"/>
              <p:cNvSpPr/>
              <p:nvPr/>
            </p:nvSpPr>
            <p:spPr bwMode="auto">
              <a:xfrm>
                <a:off x="10032715"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29" name="Rectangle 128"/>
              <p:cNvSpPr/>
              <p:nvPr/>
            </p:nvSpPr>
            <p:spPr bwMode="auto">
              <a:xfrm>
                <a:off x="274638"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132" name="Left-Right Arrow 131"/>
              <p:cNvSpPr/>
              <p:nvPr/>
            </p:nvSpPr>
            <p:spPr bwMode="auto">
              <a:xfrm>
                <a:off x="6008719" y="1441450"/>
                <a:ext cx="420624" cy="274320"/>
              </a:xfrm>
              <a:prstGeom prst="lef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grpSp>
        <p:sp>
          <p:nvSpPr>
            <p:cNvPr id="58" name="Oval 57"/>
            <p:cNvSpPr/>
            <p:nvPr/>
          </p:nvSpPr>
          <p:spPr bwMode="auto">
            <a:xfrm>
              <a:off x="4273126" y="4057331"/>
              <a:ext cx="1508760" cy="15070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r>
                <a:rPr lang="en-US" sz="1049"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59" name="Freeform 58"/>
            <p:cNvSpPr>
              <a:spLocks noEditPoints="1"/>
            </p:cNvSpPr>
            <p:nvPr/>
          </p:nvSpPr>
          <p:spPr bwMode="auto">
            <a:xfrm>
              <a:off x="4762675" y="45621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grpSp>
          <p:nvGrpSpPr>
            <p:cNvPr id="60" name="Group 59"/>
            <p:cNvGrpSpPr/>
            <p:nvPr/>
          </p:nvGrpSpPr>
          <p:grpSpPr>
            <a:xfrm>
              <a:off x="6349716" y="5840153"/>
              <a:ext cx="1580089" cy="656345"/>
              <a:chOff x="6401114" y="4959527"/>
              <a:chExt cx="1611774" cy="669506"/>
            </a:xfrm>
          </p:grpSpPr>
          <p:sp>
            <p:nvSpPr>
              <p:cNvPr id="121" name="Freeform 120"/>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22" name="TextBox 310"/>
              <p:cNvSpPr txBox="1"/>
              <p:nvPr/>
            </p:nvSpPr>
            <p:spPr>
              <a:xfrm>
                <a:off x="7284268" y="5121123"/>
                <a:ext cx="728620" cy="4435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7"/>
                  </a:spcAft>
                </a:pPr>
                <a:r>
                  <a:rPr lang="en-US" sz="1049" dirty="0">
                    <a:gradFill>
                      <a:gsLst>
                        <a:gs pos="2917">
                          <a:srgbClr val="505050"/>
                        </a:gs>
                        <a:gs pos="30000">
                          <a:srgbClr val="505050"/>
                        </a:gs>
                      </a:gsLst>
                      <a:lin ang="5400000" scaled="0"/>
                    </a:gradFill>
                  </a:rPr>
                  <a:t>Storage </a:t>
                </a:r>
                <a:br>
                  <a:rPr lang="en-US" sz="1049" dirty="0">
                    <a:gradFill>
                      <a:gsLst>
                        <a:gs pos="2917">
                          <a:srgbClr val="505050"/>
                        </a:gs>
                        <a:gs pos="30000">
                          <a:srgbClr val="505050"/>
                        </a:gs>
                      </a:gsLst>
                      <a:lin ang="5400000" scaled="0"/>
                    </a:gradFill>
                  </a:rPr>
                </a:br>
                <a:r>
                  <a:rPr lang="en-US" sz="1049" dirty="0">
                    <a:gradFill>
                      <a:gsLst>
                        <a:gs pos="2917">
                          <a:srgbClr val="505050"/>
                        </a:gs>
                        <a:gs pos="30000">
                          <a:srgbClr val="505050"/>
                        </a:gs>
                      </a:gsLst>
                      <a:lin ang="5400000" scaled="0"/>
                    </a:gradFill>
                  </a:rPr>
                  <a:t>adapters</a:t>
                </a:r>
              </a:p>
            </p:txBody>
          </p:sp>
        </p:grpSp>
        <p:sp>
          <p:nvSpPr>
            <p:cNvPr id="61" name="TextBox 140"/>
            <p:cNvSpPr txBox="1"/>
            <p:nvPr/>
          </p:nvSpPr>
          <p:spPr>
            <a:xfrm>
              <a:off x="6792930" y="4095215"/>
              <a:ext cx="861553" cy="65226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7"/>
                </a:spcAft>
              </a:pPr>
              <a:r>
                <a:rPr lang="en-US" sz="1049" b="1" dirty="0">
                  <a:solidFill>
                    <a:srgbClr val="008272"/>
                  </a:solidFill>
                </a:rPr>
                <a:t>Stream </a:t>
              </a:r>
              <a:br>
                <a:rPr lang="en-US" sz="1049" b="1" dirty="0">
                  <a:solidFill>
                    <a:srgbClr val="008272"/>
                  </a:solidFill>
                </a:rPr>
              </a:br>
              <a:r>
                <a:rPr lang="en-US" sz="1049" b="1" dirty="0">
                  <a:solidFill>
                    <a:srgbClr val="008272"/>
                  </a:solidFill>
                </a:rPr>
                <a:t>processing</a:t>
              </a:r>
            </a:p>
          </p:txBody>
        </p:sp>
        <p:grpSp>
          <p:nvGrpSpPr>
            <p:cNvPr id="62" name="Group 61"/>
            <p:cNvGrpSpPr/>
            <p:nvPr/>
          </p:nvGrpSpPr>
          <p:grpSpPr>
            <a:xfrm>
              <a:off x="2528415" y="3424405"/>
              <a:ext cx="1361981" cy="1215362"/>
              <a:chOff x="2579112" y="3492574"/>
              <a:chExt cx="1389290" cy="1239732"/>
            </a:xfrm>
          </p:grpSpPr>
          <p:sp>
            <p:nvSpPr>
              <p:cNvPr id="119" name="TextBox 307"/>
              <p:cNvSpPr txBox="1"/>
              <p:nvPr/>
            </p:nvSpPr>
            <p:spPr>
              <a:xfrm>
                <a:off x="2640546" y="4288742"/>
                <a:ext cx="1327856" cy="4435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7"/>
                  </a:spcAft>
                </a:pPr>
                <a:r>
                  <a:rPr lang="en-US" sz="1049" dirty="0">
                    <a:gradFill>
                      <a:gsLst>
                        <a:gs pos="2917">
                          <a:srgbClr val="505050"/>
                        </a:gs>
                        <a:gs pos="30000">
                          <a:srgbClr val="505050"/>
                        </a:gs>
                      </a:gsLst>
                      <a:lin ang="5400000" scaled="0"/>
                    </a:gradFill>
                  </a:rPr>
                  <a:t>Cloud gateways</a:t>
                </a:r>
                <a:br>
                  <a:rPr lang="en-US" sz="1049" dirty="0">
                    <a:gradFill>
                      <a:gsLst>
                        <a:gs pos="2917">
                          <a:srgbClr val="505050"/>
                        </a:gs>
                        <a:gs pos="30000">
                          <a:srgbClr val="505050"/>
                        </a:gs>
                      </a:gsLst>
                      <a:lin ang="5400000" scaled="0"/>
                    </a:gradFill>
                  </a:rPr>
                </a:br>
                <a:r>
                  <a:rPr lang="en-US" sz="1049" dirty="0">
                    <a:gradFill>
                      <a:gsLst>
                        <a:gs pos="2917">
                          <a:srgbClr val="505050"/>
                        </a:gs>
                        <a:gs pos="30000">
                          <a:srgbClr val="505050"/>
                        </a:gs>
                      </a:gsLst>
                      <a:lin ang="5400000" scaled="0"/>
                    </a:gradFill>
                  </a:rPr>
                  <a:t>(web APIs)</a:t>
                </a:r>
              </a:p>
            </p:txBody>
          </p:sp>
          <p:sp>
            <p:nvSpPr>
              <p:cNvPr id="120" name="Freeform 119"/>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grpSp>
        <p:grpSp>
          <p:nvGrpSpPr>
            <p:cNvPr id="63" name="Group 62"/>
            <p:cNvGrpSpPr/>
            <p:nvPr/>
          </p:nvGrpSpPr>
          <p:grpSpPr>
            <a:xfrm>
              <a:off x="2420701" y="5771193"/>
              <a:ext cx="1495046" cy="687135"/>
              <a:chOff x="2637890" y="5389538"/>
              <a:chExt cx="1525024" cy="700913"/>
            </a:xfrm>
          </p:grpSpPr>
          <p:sp>
            <p:nvSpPr>
              <p:cNvPr id="117" name="TextBox 305"/>
              <p:cNvSpPr txBox="1"/>
              <p:nvPr/>
            </p:nvSpPr>
            <p:spPr>
              <a:xfrm>
                <a:off x="3379817" y="5546095"/>
                <a:ext cx="783097" cy="4435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7"/>
                  </a:spcAft>
                </a:pPr>
                <a:r>
                  <a:rPr lang="en-US" sz="1049" dirty="0">
                    <a:gradFill>
                      <a:gsLst>
                        <a:gs pos="2917">
                          <a:srgbClr val="505050"/>
                        </a:gs>
                        <a:gs pos="30000">
                          <a:srgbClr val="505050"/>
                        </a:gs>
                      </a:gsLst>
                      <a:lin ang="5400000" scaled="0"/>
                    </a:gradFill>
                  </a:rPr>
                  <a:t>Field </a:t>
                </a:r>
                <a:br>
                  <a:rPr lang="en-US" sz="1049" dirty="0">
                    <a:gradFill>
                      <a:gsLst>
                        <a:gs pos="2917">
                          <a:srgbClr val="505050"/>
                        </a:gs>
                        <a:gs pos="30000">
                          <a:srgbClr val="505050"/>
                        </a:gs>
                      </a:gsLst>
                      <a:lin ang="5400000" scaled="0"/>
                    </a:gradFill>
                  </a:rPr>
                </a:br>
                <a:r>
                  <a:rPr lang="en-US" sz="1049" dirty="0">
                    <a:gradFill>
                      <a:gsLst>
                        <a:gs pos="2917">
                          <a:srgbClr val="505050"/>
                        </a:gs>
                        <a:gs pos="30000">
                          <a:srgbClr val="505050"/>
                        </a:gs>
                      </a:gsLst>
                      <a:lin ang="5400000" scaled="0"/>
                    </a:gradFill>
                  </a:rPr>
                  <a:t>gateways</a:t>
                </a:r>
              </a:p>
            </p:txBody>
          </p:sp>
          <p:sp>
            <p:nvSpPr>
              <p:cNvPr id="118" name="Freeform 117"/>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76" tIns="40338" rIns="80676" bIns="4033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99" dirty="0">
                  <a:solidFill>
                    <a:srgbClr val="000000"/>
                  </a:solidFill>
                </a:endParaRPr>
              </a:p>
            </p:txBody>
          </p:sp>
        </p:grpSp>
        <p:grpSp>
          <p:nvGrpSpPr>
            <p:cNvPr id="64" name="Group 63"/>
            <p:cNvGrpSpPr/>
            <p:nvPr/>
          </p:nvGrpSpPr>
          <p:grpSpPr>
            <a:xfrm>
              <a:off x="660540" y="2245415"/>
              <a:ext cx="1010251" cy="997755"/>
              <a:chOff x="673784" y="2289942"/>
              <a:chExt cx="1030507" cy="1017761"/>
            </a:xfrm>
          </p:grpSpPr>
          <p:sp>
            <p:nvSpPr>
              <p:cNvPr id="115" name="Freeform 11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A5A5A5"/>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16" name="TextBox 304"/>
              <p:cNvSpPr txBox="1"/>
              <p:nvPr/>
            </p:nvSpPr>
            <p:spPr>
              <a:xfrm>
                <a:off x="673784" y="3085921"/>
                <a:ext cx="1030507" cy="22178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7"/>
                  </a:spcAft>
                </a:pPr>
                <a:r>
                  <a:rPr lang="en-US" sz="1049" dirty="0">
                    <a:gradFill>
                      <a:gsLst>
                        <a:gs pos="2917">
                          <a:srgbClr val="505050"/>
                        </a:gs>
                        <a:gs pos="30000">
                          <a:srgbClr val="505050"/>
                        </a:gs>
                      </a:gsLst>
                      <a:lin ang="5400000" scaled="0"/>
                    </a:gradFill>
                  </a:rPr>
                  <a:t>Applications</a:t>
                </a:r>
              </a:p>
            </p:txBody>
          </p:sp>
        </p:grpSp>
        <p:sp>
          <p:nvSpPr>
            <p:cNvPr id="65" name="Freeform 64"/>
            <p:cNvSpPr>
              <a:spLocks noChangeAspect="1" noEditPoints="1"/>
            </p:cNvSpPr>
            <p:nvPr/>
          </p:nvSpPr>
          <p:spPr bwMode="black">
            <a:xfrm>
              <a:off x="10698029" y="32434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1"/>
            </a:solidFill>
            <a:ln>
              <a:noFill/>
            </a:ln>
          </p:spPr>
          <p:txBody>
            <a:bodyPr vert="horz" wrap="square" lIns="80676" tIns="40338" rIns="80676" bIns="4033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99" dirty="0">
                <a:solidFill>
                  <a:srgbClr val="000000"/>
                </a:solidFill>
              </a:endParaRPr>
            </a:p>
          </p:txBody>
        </p:sp>
        <p:sp>
          <p:nvSpPr>
            <p:cNvPr id="66" name="TextBox 145"/>
            <p:cNvSpPr txBox="1"/>
            <p:nvPr/>
          </p:nvSpPr>
          <p:spPr>
            <a:xfrm>
              <a:off x="10365617" y="3966702"/>
              <a:ext cx="1428592" cy="24160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Search and query</a:t>
              </a:r>
            </a:p>
          </p:txBody>
        </p:sp>
        <p:sp>
          <p:nvSpPr>
            <p:cNvPr id="67" name="Freeform 66"/>
            <p:cNvSpPr>
              <a:spLocks noEditPoints="1"/>
            </p:cNvSpPr>
            <p:nvPr/>
          </p:nvSpPr>
          <p:spPr bwMode="auto">
            <a:xfrm>
              <a:off x="10698030" y="4234906"/>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1"/>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68" name="TextBox 147"/>
            <p:cNvSpPr txBox="1"/>
            <p:nvPr/>
          </p:nvSpPr>
          <p:spPr>
            <a:xfrm>
              <a:off x="10247847" y="4942101"/>
              <a:ext cx="1713420" cy="24160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Data analytics (Excel)</a:t>
              </a:r>
            </a:p>
          </p:txBody>
        </p:sp>
        <p:sp>
          <p:nvSpPr>
            <p:cNvPr id="69" name="Freeform 68"/>
            <p:cNvSpPr>
              <a:spLocks noChangeAspect="1" noEditPoints="1"/>
            </p:cNvSpPr>
            <p:nvPr/>
          </p:nvSpPr>
          <p:spPr bwMode="black">
            <a:xfrm>
              <a:off x="10577266" y="20747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solidFill>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70" name="TextBox 149"/>
            <p:cNvSpPr txBox="1"/>
            <p:nvPr/>
          </p:nvSpPr>
          <p:spPr>
            <a:xfrm>
              <a:off x="10369901" y="2721972"/>
              <a:ext cx="1388539" cy="48320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Web/thick client </a:t>
              </a:r>
              <a:br>
                <a:rPr lang="en-US" sz="1049" dirty="0">
                  <a:solidFill>
                    <a:srgbClr val="000000"/>
                  </a:solidFill>
                </a:rPr>
              </a:br>
              <a:r>
                <a:rPr lang="en-US" sz="1049" dirty="0">
                  <a:solidFill>
                    <a:srgbClr val="000000"/>
                  </a:solidFill>
                </a:rPr>
                <a:t>dashboards</a:t>
              </a:r>
            </a:p>
          </p:txBody>
        </p:sp>
        <p:sp>
          <p:nvSpPr>
            <p:cNvPr id="71" name="Right Arrow 70"/>
            <p:cNvSpPr/>
            <p:nvPr/>
          </p:nvSpPr>
          <p:spPr bwMode="auto">
            <a:xfrm>
              <a:off x="7916635" y="5023859"/>
              <a:ext cx="2210170" cy="62749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29"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Live Dashboards</a:t>
              </a:r>
            </a:p>
          </p:txBody>
        </p:sp>
        <p:cxnSp>
          <p:nvCxnSpPr>
            <p:cNvPr id="72" name="Straight Arrow Connector 71"/>
            <p:cNvCxnSpPr/>
            <p:nvPr/>
          </p:nvCxnSpPr>
          <p:spPr>
            <a:xfrm>
              <a:off x="1423191" y="26712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3750768" y="40129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927626" y="39668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1927626" y="46184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3037236" y="51153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5694454" y="35824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Oval 77"/>
            <p:cNvSpPr/>
            <p:nvPr/>
          </p:nvSpPr>
          <p:spPr bwMode="auto">
            <a:xfrm>
              <a:off x="6303102" y="2189758"/>
              <a:ext cx="1554480" cy="15544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r>
                <a:rPr lang="en-US" sz="1049" dirty="0">
                  <a:gradFill>
                    <a:gsLst>
                      <a:gs pos="0">
                        <a:srgbClr val="FFFFFF"/>
                      </a:gs>
                      <a:gs pos="100000">
                        <a:srgbClr val="FFFFFF"/>
                      </a:gs>
                    </a:gsLst>
                    <a:lin ang="5400000" scaled="1"/>
                  </a:gradFill>
                  <a:ea typeface="Segoe UI" pitchFamily="34" charset="0"/>
                  <a:cs typeface="Segoe UI" pitchFamily="34" charset="0"/>
                </a:rPr>
                <a:t>Apache Storm on </a:t>
              </a:r>
              <a:br>
                <a:rPr lang="en-US" sz="1049" dirty="0">
                  <a:gradFill>
                    <a:gsLst>
                      <a:gs pos="0">
                        <a:srgbClr val="FFFFFF"/>
                      </a:gs>
                      <a:gs pos="100000">
                        <a:srgbClr val="FFFFFF"/>
                      </a:gs>
                    </a:gsLst>
                    <a:lin ang="5400000" scaled="1"/>
                  </a:gradFill>
                  <a:ea typeface="Segoe UI" pitchFamily="34" charset="0"/>
                  <a:cs typeface="Segoe UI" pitchFamily="34" charset="0"/>
                </a:rPr>
              </a:br>
              <a:r>
                <a:rPr lang="en-US" sz="1049" b="1" dirty="0">
                  <a:gradFill>
                    <a:gsLst>
                      <a:gs pos="0">
                        <a:srgbClr val="FFFFFF"/>
                      </a:gs>
                      <a:gs pos="100000">
                        <a:srgbClr val="FFFFFF"/>
                      </a:gs>
                    </a:gsLst>
                    <a:lin ang="5400000" scaled="1"/>
                  </a:gradFill>
                  <a:ea typeface="Segoe UI" pitchFamily="34" charset="0"/>
                  <a:cs typeface="Segoe UI" pitchFamily="34" charset="0"/>
                </a:rPr>
                <a:t>HDInsight</a:t>
              </a:r>
            </a:p>
          </p:txBody>
        </p:sp>
        <p:sp>
          <p:nvSpPr>
            <p:cNvPr id="79" name="Freeform 78"/>
            <p:cNvSpPr>
              <a:spLocks noChangeAspect="1" noEditPoints="1"/>
            </p:cNvSpPr>
            <p:nvPr/>
          </p:nvSpPr>
          <p:spPr bwMode="black">
            <a:xfrm>
              <a:off x="10833396" y="5249809"/>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80" name="TextBox 256"/>
            <p:cNvSpPr txBox="1"/>
            <p:nvPr/>
          </p:nvSpPr>
          <p:spPr>
            <a:xfrm>
              <a:off x="10219510" y="6110837"/>
              <a:ext cx="1804656" cy="24160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Devices to take action</a:t>
              </a:r>
            </a:p>
          </p:txBody>
        </p:sp>
        <p:sp>
          <p:nvSpPr>
            <p:cNvPr id="81" name="Oval 80"/>
            <p:cNvSpPr/>
            <p:nvPr/>
          </p:nvSpPr>
          <p:spPr bwMode="auto">
            <a:xfrm>
              <a:off x="4417559" y="2520289"/>
              <a:ext cx="1463473" cy="1507080"/>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49" dirty="0">
                  <a:gradFill>
                    <a:gsLst>
                      <a:gs pos="0">
                        <a:srgbClr val="FFFFFF"/>
                      </a:gs>
                      <a:gs pos="100000">
                        <a:srgbClr val="FFFFFF"/>
                      </a:gs>
                    </a:gsLst>
                    <a:lin ang="5400000" scaled="1"/>
                  </a:gradFill>
                  <a:ea typeface="Segoe UI" pitchFamily="34" charset="0"/>
                  <a:cs typeface="Segoe UI" pitchFamily="34" charset="0"/>
                </a:rPr>
                <a:t>Kafka/</a:t>
              </a:r>
              <a:endParaRPr lang="en-US" sz="1049" i="1" dirty="0">
                <a:solidFill>
                  <a:srgbClr val="FFFFFF"/>
                </a:solidFill>
              </a:endParaRPr>
            </a:p>
            <a:p>
              <a:pPr algn="ctr"/>
              <a:r>
                <a:rPr lang="en-US" sz="1049" i="1" dirty="0">
                  <a:solidFill>
                    <a:srgbClr val="FFFFFF"/>
                  </a:solidFill>
                </a:rPr>
                <a:t>RabbitMQ/</a:t>
              </a:r>
            </a:p>
            <a:p>
              <a:pPr algn="ctr"/>
              <a:r>
                <a:rPr lang="en-US" sz="1049" i="1" dirty="0">
                  <a:solidFill>
                    <a:srgbClr val="FFFFFF"/>
                  </a:solidFill>
                </a:rPr>
                <a:t>ActiveMQ</a:t>
              </a:r>
              <a:endParaRPr lang="en-US" sz="1049" dirty="0">
                <a:gradFill>
                  <a:gsLst>
                    <a:gs pos="0">
                      <a:srgbClr val="FFFFFF"/>
                    </a:gs>
                    <a:gs pos="100000">
                      <a:srgbClr val="FFFFFF"/>
                    </a:gs>
                  </a:gsLst>
                  <a:lin ang="5400000" scaled="1"/>
                </a:gradFill>
                <a:ea typeface="Segoe UI" pitchFamily="34" charset="0"/>
                <a:cs typeface="Segoe UI" pitchFamily="34" charset="0"/>
              </a:endParaRPr>
            </a:p>
          </p:txBody>
        </p:sp>
        <p:sp>
          <p:nvSpPr>
            <p:cNvPr id="82" name="TextBox 258"/>
            <p:cNvSpPr txBox="1"/>
            <p:nvPr/>
          </p:nvSpPr>
          <p:spPr>
            <a:xfrm>
              <a:off x="344738" y="6232829"/>
              <a:ext cx="1640541" cy="2174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049" dirty="0">
                  <a:gradFill>
                    <a:gsLst>
                      <a:gs pos="2917">
                        <a:srgbClr val="505050"/>
                      </a:gs>
                      <a:gs pos="30000">
                        <a:srgbClr val="505050"/>
                      </a:gs>
                    </a:gsLst>
                    <a:lin ang="5400000" scaled="0"/>
                  </a:gradFill>
                </a:rPr>
                <a:t>Web and social</a:t>
              </a:r>
            </a:p>
          </p:txBody>
        </p:sp>
        <p:grpSp>
          <p:nvGrpSpPr>
            <p:cNvPr id="83" name="Group 82"/>
            <p:cNvGrpSpPr/>
            <p:nvPr/>
          </p:nvGrpSpPr>
          <p:grpSpPr>
            <a:xfrm>
              <a:off x="682782" y="5611975"/>
              <a:ext cx="951572" cy="548358"/>
              <a:chOff x="1157890" y="5857031"/>
              <a:chExt cx="731059" cy="356127"/>
            </a:xfrm>
          </p:grpSpPr>
          <p:sp>
            <p:nvSpPr>
              <p:cNvPr id="113" name="Freeform 112"/>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14" name="Freeform 1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endParaRPr lang="en-US" sz="1199" spc="-122" dirty="0">
                  <a:solidFill>
                    <a:srgbClr val="000000">
                      <a:lumMod val="50000"/>
                    </a:srgbClr>
                  </a:solidFill>
                  <a:latin typeface="Segoe Light" pitchFamily="34" charset="0"/>
                </a:endParaRPr>
              </a:p>
            </p:txBody>
          </p:sp>
        </p:grpSp>
        <p:sp>
          <p:nvSpPr>
            <p:cNvPr id="84" name="Rectangle 83">
              <a:hlinkClick r:id="" action="ppaction://noaction"/>
            </p:cNvPr>
            <p:cNvSpPr/>
            <p:nvPr/>
          </p:nvSpPr>
          <p:spPr bwMode="auto">
            <a:xfrm>
              <a:off x="519971" y="37038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horz" wrap="square" lIns="91427" tIns="146283" rIns="0" bIns="14628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6778">
                <a:lnSpc>
                  <a:spcPct val="90000"/>
                </a:lnSpc>
              </a:pPr>
              <a:endParaRPr lang="en-US" sz="1399" kern="0" dirty="0">
                <a:ln>
                  <a:solidFill>
                    <a:srgbClr val="FFFFFF">
                      <a:alpha val="0"/>
                    </a:srgbClr>
                  </a:solidFill>
                </a:ln>
                <a:gradFill>
                  <a:gsLst>
                    <a:gs pos="56637">
                      <a:srgbClr val="FFFFFF"/>
                    </a:gs>
                    <a:gs pos="11000">
                      <a:srgbClr val="FFFFFF"/>
                    </a:gs>
                  </a:gsLst>
                  <a:lin ang="5400000" scaled="0"/>
                </a:gradFill>
              </a:endParaRPr>
            </a:p>
          </p:txBody>
        </p:sp>
        <p:grpSp>
          <p:nvGrpSpPr>
            <p:cNvPr id="85" name="Group 84"/>
            <p:cNvGrpSpPr/>
            <p:nvPr/>
          </p:nvGrpSpPr>
          <p:grpSpPr>
            <a:xfrm>
              <a:off x="682780" y="3568542"/>
              <a:ext cx="1051375" cy="661144"/>
              <a:chOff x="681416" y="4028239"/>
              <a:chExt cx="634251" cy="379977"/>
            </a:xfrm>
          </p:grpSpPr>
          <p:sp>
            <p:nvSpPr>
              <p:cNvPr id="110" name="Freeform 109"/>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23" tIns="45712" rIns="91423" bIns="4571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11" name="Freeform 110"/>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1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endParaRPr lang="en-US" sz="1199" spc="-122" dirty="0">
                  <a:solidFill>
                    <a:srgbClr val="000000">
                      <a:lumMod val="50000"/>
                    </a:srgbClr>
                  </a:solidFill>
                  <a:latin typeface="Segoe Light" pitchFamily="34" charset="0"/>
                </a:endParaRPr>
              </a:p>
            </p:txBody>
          </p:sp>
        </p:grpSp>
        <p:sp>
          <p:nvSpPr>
            <p:cNvPr id="86" name="TextBox 271"/>
            <p:cNvSpPr txBox="1"/>
            <p:nvPr/>
          </p:nvSpPr>
          <p:spPr>
            <a:xfrm>
              <a:off x="806175" y="4343916"/>
              <a:ext cx="627513" cy="21742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7"/>
                </a:spcAft>
              </a:pPr>
              <a:r>
                <a:rPr lang="en-US" sz="1049" dirty="0">
                  <a:gradFill>
                    <a:gsLst>
                      <a:gs pos="2917">
                        <a:srgbClr val="505050"/>
                      </a:gs>
                      <a:gs pos="30000">
                        <a:srgbClr val="505050"/>
                      </a:gs>
                    </a:gsLst>
                    <a:lin ang="5400000" scaled="0"/>
                  </a:gradFill>
                </a:rPr>
                <a:t>Devices</a:t>
              </a:r>
            </a:p>
          </p:txBody>
        </p:sp>
        <p:sp>
          <p:nvSpPr>
            <p:cNvPr id="87" name="TextBox 272"/>
            <p:cNvSpPr txBox="1"/>
            <p:nvPr/>
          </p:nvSpPr>
          <p:spPr>
            <a:xfrm>
              <a:off x="846978" y="5211274"/>
              <a:ext cx="548640" cy="4348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049" dirty="0">
                  <a:gradFill>
                    <a:gsLst>
                      <a:gs pos="2917">
                        <a:srgbClr val="505050"/>
                      </a:gs>
                      <a:gs pos="30000">
                        <a:srgbClr val="505050"/>
                      </a:gs>
                    </a:gsLst>
                    <a:lin ang="5400000" scaled="0"/>
                  </a:gradFill>
                </a:rPr>
                <a:t>Sensors</a:t>
              </a:r>
            </a:p>
          </p:txBody>
        </p:sp>
        <p:grpSp>
          <p:nvGrpSpPr>
            <p:cNvPr id="88" name="Group 87"/>
            <p:cNvGrpSpPr/>
            <p:nvPr/>
          </p:nvGrpSpPr>
          <p:grpSpPr>
            <a:xfrm>
              <a:off x="702726" y="4734794"/>
              <a:ext cx="862790" cy="429878"/>
              <a:chOff x="5416547" y="3144838"/>
              <a:chExt cx="1352553" cy="565150"/>
            </a:xfrm>
            <a:solidFill>
              <a:srgbClr val="A5A5A5"/>
            </a:solidFill>
          </p:grpSpPr>
          <p:sp>
            <p:nvSpPr>
              <p:cNvPr id="106" name="Freeform 105"/>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07" name="Freeform 106"/>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08" name="Freeform 107"/>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09" name="Freeform 108"/>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grpSp>
        <p:pic>
          <p:nvPicPr>
            <p:cNvPr id="89" name="Picture 88"/>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827084" y="3168223"/>
              <a:ext cx="775646" cy="256913"/>
            </a:xfrm>
            <a:prstGeom prst="rect">
              <a:avLst/>
            </a:prstGeom>
            <a:solidFill>
              <a:schemeClr val="bg1"/>
            </a:solidFill>
          </p:spPr>
        </p:pic>
        <p:pic>
          <p:nvPicPr>
            <p:cNvPr id="90" name="Picture 89"/>
            <p:cNvPicPr>
              <a:picLocks noChangeAspect="1"/>
            </p:cNvPicPr>
            <p:nvPr/>
          </p:nvPicPr>
          <p:blipFill>
            <a:blip r:embed="rId6"/>
            <a:stretch>
              <a:fillRect/>
            </a:stretch>
          </p:blipFill>
          <p:spPr>
            <a:xfrm>
              <a:off x="6591025" y="3168223"/>
              <a:ext cx="243110" cy="256913"/>
            </a:xfrm>
            <a:prstGeom prst="rect">
              <a:avLst/>
            </a:prstGeom>
          </p:spPr>
        </p:pic>
        <p:pic>
          <p:nvPicPr>
            <p:cNvPr id="91" name="Picture 90"/>
            <p:cNvPicPr>
              <a:picLocks noChangeAspect="1"/>
            </p:cNvPicPr>
            <p:nvPr/>
          </p:nvPicPr>
          <p:blipFill>
            <a:blip r:embed="rId7" cstate="email">
              <a:lum bright="70000" contrast="-70000"/>
              <a:extLst>
                <a:ext uri="{28A0092B-C50C-407E-A947-70E740481C1C}">
                  <a14:useLocalDpi xmlns:a14="http://schemas.microsoft.com/office/drawing/2010/main" val="0"/>
                </a:ext>
              </a:extLst>
            </a:blip>
            <a:stretch>
              <a:fillRect/>
            </a:stretch>
          </p:blipFill>
          <p:spPr>
            <a:xfrm>
              <a:off x="5004162" y="3410733"/>
              <a:ext cx="296976" cy="463283"/>
            </a:xfrm>
            <a:prstGeom prst="rect">
              <a:avLst/>
            </a:prstGeom>
          </p:spPr>
        </p:pic>
        <p:sp>
          <p:nvSpPr>
            <p:cNvPr id="92" name="Oval 91"/>
            <p:cNvSpPr/>
            <p:nvPr/>
          </p:nvSpPr>
          <p:spPr bwMode="auto">
            <a:xfrm>
              <a:off x="6296805" y="4050040"/>
              <a:ext cx="1554480" cy="15544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r>
                <a:rPr lang="en-US" sz="1049" dirty="0">
                  <a:gradFill>
                    <a:gsLst>
                      <a:gs pos="0">
                        <a:srgbClr val="FFFFFF"/>
                      </a:gs>
                      <a:gs pos="100000">
                        <a:srgbClr val="FFFFFF"/>
                      </a:gs>
                    </a:gsLst>
                    <a:lin ang="5400000" scaled="1"/>
                  </a:gradFill>
                  <a:ea typeface="Segoe UI" pitchFamily="34" charset="0"/>
                  <a:cs typeface="Segoe UI" pitchFamily="34" charset="0"/>
                </a:rPr>
                <a:t>Azure Stream Analytics</a:t>
              </a:r>
              <a:endParaRPr lang="en-US" sz="1049" b="1" dirty="0">
                <a:gradFill>
                  <a:gsLst>
                    <a:gs pos="0">
                      <a:srgbClr val="FFFFFF"/>
                    </a:gs>
                    <a:gs pos="100000">
                      <a:srgbClr val="FFFFFF"/>
                    </a:gs>
                  </a:gsLst>
                  <a:lin ang="5400000" scaled="1"/>
                </a:gradFill>
                <a:ea typeface="Segoe UI" pitchFamily="34" charset="0"/>
                <a:cs typeface="Segoe UI" pitchFamily="34" charset="0"/>
              </a:endParaRPr>
            </a:p>
          </p:txBody>
        </p:sp>
        <p:pic>
          <p:nvPicPr>
            <p:cNvPr id="93" name="Picture 9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99617" y="4615255"/>
              <a:ext cx="856568" cy="856568"/>
            </a:xfrm>
            <a:prstGeom prst="rect">
              <a:avLst/>
            </a:prstGeom>
          </p:spPr>
        </p:pic>
        <p:cxnSp>
          <p:nvCxnSpPr>
            <p:cNvPr id="94" name="Straight Arrow Connector 93"/>
            <p:cNvCxnSpPr/>
            <p:nvPr/>
          </p:nvCxnSpPr>
          <p:spPr>
            <a:xfrm>
              <a:off x="5691956" y="52899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5" name="Freeform 94"/>
            <p:cNvSpPr>
              <a:spLocks noEditPoints="1"/>
            </p:cNvSpPr>
            <p:nvPr/>
          </p:nvSpPr>
          <p:spPr bwMode="auto">
            <a:xfrm>
              <a:off x="9242102" y="23458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cxnSp>
          <p:nvCxnSpPr>
            <p:cNvPr id="96" name="Straight Arrow Connector 95"/>
            <p:cNvCxnSpPr/>
            <p:nvPr/>
          </p:nvCxnSpPr>
          <p:spPr>
            <a:xfrm flipH="1">
              <a:off x="5790349" y="47920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7" name="Group 96"/>
            <p:cNvGrpSpPr/>
            <p:nvPr/>
          </p:nvGrpSpPr>
          <p:grpSpPr>
            <a:xfrm>
              <a:off x="8049355" y="2501648"/>
              <a:ext cx="1149418" cy="2415434"/>
              <a:chOff x="7913170" y="3312282"/>
              <a:chExt cx="1149418" cy="2415434"/>
            </a:xfrm>
          </p:grpSpPr>
          <p:grpSp>
            <p:nvGrpSpPr>
              <p:cNvPr id="98" name="Group 97"/>
              <p:cNvGrpSpPr/>
              <p:nvPr/>
            </p:nvGrpSpPr>
            <p:grpSpPr>
              <a:xfrm>
                <a:off x="7913170" y="3312282"/>
                <a:ext cx="1149418" cy="2415434"/>
                <a:chOff x="7913170" y="3312282"/>
                <a:chExt cx="1149418" cy="2415434"/>
              </a:xfrm>
            </p:grpSpPr>
            <p:grpSp>
              <p:nvGrpSpPr>
                <p:cNvPr id="101" name="Group 100"/>
                <p:cNvGrpSpPr/>
                <p:nvPr/>
              </p:nvGrpSpPr>
              <p:grpSpPr>
                <a:xfrm>
                  <a:off x="7916635" y="3918422"/>
                  <a:ext cx="1145953" cy="1809294"/>
                  <a:chOff x="8138456" y="2948621"/>
                  <a:chExt cx="1188720" cy="1981190"/>
                </a:xfrm>
                <a:solidFill>
                  <a:schemeClr val="accent1"/>
                </a:solidFill>
              </p:grpSpPr>
              <p:sp>
                <p:nvSpPr>
                  <p:cNvPr id="103" name="Right Arrow 102"/>
                  <p:cNvSpPr/>
                  <p:nvPr/>
                </p:nvSpPr>
                <p:spPr bwMode="auto">
                  <a:xfrm>
                    <a:off x="8138456" y="2948621"/>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HDFS</a:t>
                    </a:r>
                  </a:p>
                </p:txBody>
              </p:sp>
              <p:sp>
                <p:nvSpPr>
                  <p:cNvPr id="104" name="Right Arrow 103"/>
                  <p:cNvSpPr/>
                  <p:nvPr/>
                </p:nvSpPr>
                <p:spPr bwMode="auto">
                  <a:xfrm>
                    <a:off x="8138456" y="3619176"/>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105" name="Right Arrow 104"/>
                  <p:cNvSpPr/>
                  <p:nvPr/>
                </p:nvSpPr>
                <p:spPr bwMode="auto">
                  <a:xfrm>
                    <a:off x="8138456" y="4289731"/>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Azure Storage</a:t>
                    </a:r>
                  </a:p>
                </p:txBody>
              </p:sp>
            </p:grpSp>
            <p:sp>
              <p:nvSpPr>
                <p:cNvPr id="102" name="Right Arrow 101"/>
                <p:cNvSpPr/>
                <p:nvPr/>
              </p:nvSpPr>
              <p:spPr bwMode="auto">
                <a:xfrm>
                  <a:off x="7913170" y="3312282"/>
                  <a:ext cx="1145953" cy="58454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HBase</a:t>
                  </a:r>
                </a:p>
              </p:txBody>
            </p:sp>
          </p:grpSp>
          <p:pic>
            <p:nvPicPr>
              <p:cNvPr id="99" name="Picture 98"/>
              <p:cNvPicPr>
                <a:picLocks noChangeAspect="1"/>
              </p:cNvPicPr>
              <p:nvPr/>
            </p:nvPicPr>
            <p:blipFill>
              <a:blip r:embed="rId6">
                <a:clrChange>
                  <a:clrFrom>
                    <a:srgbClr val="89C33F"/>
                  </a:clrFrom>
                  <a:clrTo>
                    <a:srgbClr val="89C33F">
                      <a:alpha val="0"/>
                    </a:srgbClr>
                  </a:clrTo>
                </a:clrChange>
              </a:blip>
              <a:stretch>
                <a:fillRect/>
              </a:stretch>
            </p:blipFill>
            <p:spPr>
              <a:xfrm>
                <a:off x="8577883" y="3438824"/>
                <a:ext cx="308864" cy="326402"/>
              </a:xfrm>
              <a:prstGeom prst="rect">
                <a:avLst/>
              </a:prstGeom>
            </p:spPr>
          </p:pic>
          <p:pic>
            <p:nvPicPr>
              <p:cNvPr id="100" name="Picture 99"/>
              <p:cNvPicPr>
                <a:picLocks noChangeAspect="1"/>
              </p:cNvPicPr>
              <p:nvPr/>
            </p:nvPicPr>
            <p:blipFill>
              <a:blip r:embed="rId6">
                <a:clrChange>
                  <a:clrFrom>
                    <a:srgbClr val="89C33F"/>
                  </a:clrFrom>
                  <a:clrTo>
                    <a:srgbClr val="89C33F">
                      <a:alpha val="0"/>
                    </a:srgbClr>
                  </a:clrTo>
                </a:clrChange>
              </a:blip>
              <a:stretch>
                <a:fillRect/>
              </a:stretch>
            </p:blipFill>
            <p:spPr>
              <a:xfrm>
                <a:off x="8551455" y="4046735"/>
                <a:ext cx="308864" cy="326402"/>
              </a:xfrm>
              <a:prstGeom prst="rect">
                <a:avLst/>
              </a:prstGeom>
            </p:spPr>
          </p:pic>
        </p:grpSp>
      </p:grpSp>
    </p:spTree>
    <p:extLst>
      <p:ext uri="{BB962C8B-B14F-4D97-AF65-F5344CB8AC3E}">
        <p14:creationId xmlns:p14="http://schemas.microsoft.com/office/powerpoint/2010/main" val="85932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tx1"/>
                </a:solidFill>
              </a:rPr>
              <a:t>HDInsight supports Spark</a:t>
            </a:r>
          </a:p>
        </p:txBody>
      </p:sp>
      <p:sp>
        <p:nvSpPr>
          <p:cNvPr id="138" name="Text Placeholder 2"/>
          <p:cNvSpPr txBox="1">
            <a:spLocks/>
          </p:cNvSpPr>
          <p:nvPr/>
        </p:nvSpPr>
        <p:spPr>
          <a:xfrm>
            <a:off x="377755" y="1186694"/>
            <a:ext cx="12488312" cy="2265468"/>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In-memory processing on multiple workloads</a:t>
            </a:r>
          </a:p>
          <a:p>
            <a:pPr lvl="1"/>
            <a:r>
              <a:rPr lang="en-US" dirty="0"/>
              <a:t>Single execution model for multiple tasks (SQL Query, Spark Streaming, Machine Learning, and Graph)</a:t>
            </a:r>
          </a:p>
          <a:p>
            <a:pPr lvl="1"/>
            <a:r>
              <a:rPr lang="en-US" dirty="0"/>
              <a:t>Processing up to 100x faster performance</a:t>
            </a:r>
          </a:p>
          <a:p>
            <a:pPr lvl="1"/>
            <a:r>
              <a:rPr lang="en-US" dirty="0"/>
              <a:t>Developer friendly (Java, Python, Scala)</a:t>
            </a:r>
          </a:p>
          <a:p>
            <a:pPr lvl="1"/>
            <a:r>
              <a:rPr lang="en-US" dirty="0"/>
              <a:t>BI tool of choice (Power BI, Tableau, Qlik, SAP)</a:t>
            </a:r>
          </a:p>
          <a:p>
            <a:pPr lvl="1"/>
            <a:r>
              <a:rPr lang="en-US" dirty="0"/>
              <a:t>Notebook experience (Jupyter/iPython, Zeppelin)</a:t>
            </a:r>
          </a:p>
        </p:txBody>
      </p:sp>
      <p:sp>
        <p:nvSpPr>
          <p:cNvPr id="139" name="Rectangle 138"/>
          <p:cNvSpPr/>
          <p:nvPr>
            <p:custDataLst>
              <p:tags r:id="rId1"/>
            </p:custDataLst>
          </p:nvPr>
        </p:nvSpPr>
        <p:spPr bwMode="auto">
          <a:xfrm>
            <a:off x="377755" y="3238784"/>
            <a:ext cx="11528584" cy="37094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a:lnSpc>
                <a:spcPct val="90000"/>
              </a:lnSpc>
              <a:spcBef>
                <a:spcPct val="20000"/>
              </a:spcBef>
              <a:buSzPct val="80000"/>
            </a:pPr>
            <a:endParaRPr lang="en-US" sz="1399" b="1" dirty="0">
              <a:ln>
                <a:solidFill>
                  <a:srgbClr val="FFFFFF">
                    <a:alpha val="0"/>
                  </a:srgbClr>
                </a:solidFill>
              </a:ln>
              <a:solidFill>
                <a:srgbClr val="595959"/>
              </a:solidFill>
            </a:endParaRPr>
          </a:p>
        </p:txBody>
      </p:sp>
      <p:pic>
        <p:nvPicPr>
          <p:cNvPr id="140" name="Picture 1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08142" y="107433"/>
            <a:ext cx="1250465" cy="651285"/>
          </a:xfrm>
          <a:prstGeom prst="rect">
            <a:avLst/>
          </a:prstGeom>
          <a:noFill/>
        </p:spPr>
      </p:pic>
      <p:sp>
        <p:nvSpPr>
          <p:cNvPr id="141" name="Rectangle 140"/>
          <p:cNvSpPr>
            <a:spLocks/>
          </p:cNvSpPr>
          <p:nvPr/>
        </p:nvSpPr>
        <p:spPr>
          <a:xfrm>
            <a:off x="3142295" y="6214760"/>
            <a:ext cx="4482450" cy="702595"/>
          </a:xfrm>
          <a:prstGeom prst="rect">
            <a:avLst/>
          </a:prstGeom>
          <a:solidFill>
            <a:schemeClr val="accent5">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82854" tIns="137141" rIns="182854"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599" dirty="0">
              <a:gradFill>
                <a:gsLst>
                  <a:gs pos="2917">
                    <a:srgbClr val="FFFFFF"/>
                  </a:gs>
                  <a:gs pos="100000">
                    <a:srgbClr val="FFFFFF"/>
                  </a:gs>
                </a:gsLst>
                <a:lin ang="5400000" scaled="0"/>
              </a:gradFill>
              <a:cs typeface="Arial"/>
            </a:endParaRPr>
          </a:p>
        </p:txBody>
      </p:sp>
      <p:sp>
        <p:nvSpPr>
          <p:cNvPr id="142" name="Rounded Rectangle 37"/>
          <p:cNvSpPr>
            <a:spLocks/>
          </p:cNvSpPr>
          <p:nvPr/>
        </p:nvSpPr>
        <p:spPr>
          <a:xfrm>
            <a:off x="3142295" y="5085147"/>
            <a:ext cx="982188" cy="124377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9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park SQL</a:t>
            </a:r>
            <a:endParaRPr lang="en-US" sz="1000" b="1" kern="0" dirty="0">
              <a:gradFill>
                <a:gsLst>
                  <a:gs pos="2917">
                    <a:srgbClr val="FFFFFF"/>
                  </a:gs>
                  <a:gs pos="100000">
                    <a:srgbClr val="FFFFFF"/>
                  </a:gs>
                </a:gsLst>
                <a:lin ang="5400000" scaled="0"/>
              </a:gradFill>
              <a:cs typeface="Arial"/>
            </a:endParaRPr>
          </a:p>
        </p:txBody>
      </p:sp>
      <p:sp>
        <p:nvSpPr>
          <p:cNvPr id="143" name="Rounded Rectangle 37"/>
          <p:cNvSpPr>
            <a:spLocks/>
          </p:cNvSpPr>
          <p:nvPr/>
        </p:nvSpPr>
        <p:spPr>
          <a:xfrm>
            <a:off x="4204644" y="5085147"/>
            <a:ext cx="1079759" cy="124377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9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park Streaming</a:t>
            </a:r>
            <a:endParaRPr lang="en-US" sz="1000" b="1" kern="0" dirty="0">
              <a:gradFill>
                <a:gsLst>
                  <a:gs pos="2917">
                    <a:srgbClr val="FFFFFF"/>
                  </a:gs>
                  <a:gs pos="100000">
                    <a:srgbClr val="FFFFFF"/>
                  </a:gs>
                </a:gsLst>
                <a:lin ang="5400000" scaled="0"/>
              </a:gradFill>
              <a:cs typeface="Arial"/>
            </a:endParaRPr>
          </a:p>
        </p:txBody>
      </p:sp>
      <p:sp>
        <p:nvSpPr>
          <p:cNvPr id="144" name="Rounded Rectangle 37"/>
          <p:cNvSpPr>
            <a:spLocks/>
          </p:cNvSpPr>
          <p:nvPr/>
        </p:nvSpPr>
        <p:spPr>
          <a:xfrm>
            <a:off x="5356910" y="5085148"/>
            <a:ext cx="982188" cy="1270272"/>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9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Machine Learning MLib</a:t>
            </a:r>
            <a:endParaRPr lang="en-US" sz="1000" b="1" kern="0" dirty="0">
              <a:gradFill>
                <a:gsLst>
                  <a:gs pos="2917">
                    <a:srgbClr val="FFFFFF"/>
                  </a:gs>
                  <a:gs pos="100000">
                    <a:srgbClr val="FFFFFF"/>
                  </a:gs>
                </a:gsLst>
                <a:lin ang="5400000" scaled="0"/>
              </a:gradFill>
              <a:cs typeface="Arial"/>
            </a:endParaRPr>
          </a:p>
        </p:txBody>
      </p:sp>
      <p:sp>
        <p:nvSpPr>
          <p:cNvPr id="145" name="Rounded Rectangle 37"/>
          <p:cNvSpPr>
            <a:spLocks/>
          </p:cNvSpPr>
          <p:nvPr/>
        </p:nvSpPr>
        <p:spPr>
          <a:xfrm>
            <a:off x="6411604" y="5085147"/>
            <a:ext cx="1213139" cy="124377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4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Graph GraphX</a:t>
            </a:r>
            <a:endParaRPr lang="en-US" sz="900" kern="0" dirty="0">
              <a:gradFill>
                <a:gsLst>
                  <a:gs pos="2917">
                    <a:srgbClr val="FFFFFF"/>
                  </a:gs>
                  <a:gs pos="100000">
                    <a:srgbClr val="FFFFFF"/>
                  </a:gs>
                </a:gsLst>
                <a:lin ang="5400000" scaled="0"/>
              </a:gradFill>
              <a:cs typeface="Arial"/>
            </a:endParaRPr>
          </a:p>
        </p:txBody>
      </p:sp>
      <p:cxnSp>
        <p:nvCxnSpPr>
          <p:cNvPr id="146" name="Straight Arrow Connector 145"/>
          <p:cNvCxnSpPr/>
          <p:nvPr/>
        </p:nvCxnSpPr>
        <p:spPr>
          <a:xfrm flipH="1">
            <a:off x="5322425" y="4184416"/>
            <a:ext cx="381" cy="876334"/>
          </a:xfrm>
          <a:prstGeom prst="straightConnector1">
            <a:avLst/>
          </a:prstGeom>
          <a:ln w="444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7" name="Picture 1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26453" y="6266069"/>
            <a:ext cx="1250465" cy="651285"/>
          </a:xfrm>
          <a:prstGeom prst="rect">
            <a:avLst/>
          </a:prstGeom>
          <a:noFill/>
        </p:spPr>
      </p:pic>
      <p:grpSp>
        <p:nvGrpSpPr>
          <p:cNvPr id="148" name="Group 147"/>
          <p:cNvGrpSpPr/>
          <p:nvPr/>
        </p:nvGrpSpPr>
        <p:grpSpPr>
          <a:xfrm>
            <a:off x="3633389" y="3225257"/>
            <a:ext cx="3285458" cy="1419807"/>
            <a:chOff x="1384300" y="1073938"/>
            <a:chExt cx="7353300" cy="3436126"/>
          </a:xfrm>
        </p:grpSpPr>
        <p:pic>
          <p:nvPicPr>
            <p:cNvPr id="149" name="Picture 14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158142" y="1073938"/>
              <a:ext cx="1805615" cy="656587"/>
            </a:xfrm>
            <a:prstGeom prst="rect">
              <a:avLst/>
            </a:prstGeom>
          </p:spPr>
        </p:pic>
        <p:pic>
          <p:nvPicPr>
            <p:cNvPr id="150" name="Picture 14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671648" y="1694077"/>
              <a:ext cx="6566262" cy="2815987"/>
            </a:xfrm>
            <a:prstGeom prst="rect">
              <a:avLst/>
            </a:prstGeom>
          </p:spPr>
        </p:pic>
        <p:sp>
          <p:nvSpPr>
            <p:cNvPr id="151" name="Rounded Rectangle 150"/>
            <p:cNvSpPr/>
            <p:nvPr/>
          </p:nvSpPr>
          <p:spPr>
            <a:xfrm>
              <a:off x="1384300" y="1694077"/>
              <a:ext cx="7353300" cy="2815987"/>
            </a:xfrm>
            <a:prstGeom prst="round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pic>
        <p:nvPicPr>
          <p:cNvPr id="152" name="Picture 151"/>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375582" y="4105023"/>
            <a:ext cx="1364059" cy="267268"/>
          </a:xfrm>
          <a:prstGeom prst="rect">
            <a:avLst/>
          </a:prstGeom>
        </p:spPr>
      </p:pic>
      <p:pic>
        <p:nvPicPr>
          <p:cNvPr id="153" name="Picture 152"/>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371906" y="4979008"/>
            <a:ext cx="1367735" cy="511510"/>
          </a:xfrm>
          <a:prstGeom prst="rect">
            <a:avLst/>
          </a:prstGeom>
        </p:spPr>
      </p:pic>
      <p:pic>
        <p:nvPicPr>
          <p:cNvPr id="154" name="Picture 153"/>
          <p:cNvPicPr>
            <a:picLocks noChangeAspect="1"/>
          </p:cNvPicPr>
          <p:nvPr/>
        </p:nvPicPr>
        <p:blipFill>
          <a:blip r:embed="rId9"/>
          <a:stretch>
            <a:fillRect/>
          </a:stretch>
        </p:blipFill>
        <p:spPr>
          <a:xfrm>
            <a:off x="10375582" y="4575562"/>
            <a:ext cx="1242940" cy="363788"/>
          </a:xfrm>
          <a:prstGeom prst="rect">
            <a:avLst/>
          </a:prstGeom>
        </p:spPr>
      </p:pic>
      <p:pic>
        <p:nvPicPr>
          <p:cNvPr id="155" name="Picture 15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377451" y="3498307"/>
            <a:ext cx="1337007" cy="486184"/>
          </a:xfrm>
          <a:prstGeom prst="rect">
            <a:avLst/>
          </a:prstGeom>
        </p:spPr>
      </p:pic>
      <p:pic>
        <p:nvPicPr>
          <p:cNvPr id="156" name="Picture 155"/>
          <p:cNvPicPr>
            <a:picLocks noChangeAspect="1"/>
          </p:cNvPicPr>
          <p:nvPr/>
        </p:nvPicPr>
        <p:blipFill>
          <a:blip r:embed="rId10"/>
          <a:stretch>
            <a:fillRect/>
          </a:stretch>
        </p:blipFill>
        <p:spPr>
          <a:xfrm>
            <a:off x="10659213" y="5623267"/>
            <a:ext cx="861767" cy="861767"/>
          </a:xfrm>
          <a:prstGeom prst="rect">
            <a:avLst/>
          </a:prstGeom>
        </p:spPr>
      </p:pic>
      <p:pic>
        <p:nvPicPr>
          <p:cNvPr id="157" name="Picture 156"/>
          <p:cNvPicPr>
            <a:picLocks noChangeAspect="1"/>
          </p:cNvPicPr>
          <p:nvPr/>
        </p:nvPicPr>
        <p:blipFill>
          <a:blip r:embed="rId11"/>
          <a:stretch>
            <a:fillRect/>
          </a:stretch>
        </p:blipFill>
        <p:spPr>
          <a:xfrm>
            <a:off x="10371906" y="6532908"/>
            <a:ext cx="1342552" cy="197566"/>
          </a:xfrm>
          <a:prstGeom prst="rect">
            <a:avLst/>
          </a:prstGeom>
        </p:spPr>
      </p:pic>
    </p:spTree>
    <p:extLst>
      <p:ext uri="{BB962C8B-B14F-4D97-AF65-F5344CB8AC3E}">
        <p14:creationId xmlns:p14="http://schemas.microsoft.com/office/powerpoint/2010/main" val="253302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0110" y="522016"/>
            <a:ext cx="6006009" cy="2244707"/>
          </a:xfrm>
        </p:spPr>
        <p:txBody>
          <a:bodyPr/>
          <a:lstStyle/>
          <a:p>
            <a:r>
              <a:rPr lang="en-US" dirty="0"/>
              <a:t>Easy for data scientists with familiar R language</a:t>
            </a:r>
          </a:p>
        </p:txBody>
      </p:sp>
      <p:sp>
        <p:nvSpPr>
          <p:cNvPr id="4" name="Text Placeholder 3"/>
          <p:cNvSpPr>
            <a:spLocks noGrp="1"/>
          </p:cNvSpPr>
          <p:nvPr>
            <p:ph type="body" sz="quarter" idx="10"/>
          </p:nvPr>
        </p:nvSpPr>
        <p:spPr>
          <a:xfrm>
            <a:off x="6746460" y="700097"/>
            <a:ext cx="5232292" cy="5305235"/>
          </a:xfrm>
        </p:spPr>
        <p:txBody>
          <a:bodyPr/>
          <a:lstStyle/>
          <a:p>
            <a:pPr marL="0" indent="0">
              <a:spcBef>
                <a:spcPts val="0"/>
              </a:spcBef>
              <a:spcAft>
                <a:spcPts val="612"/>
              </a:spcAft>
              <a:buNone/>
            </a:pPr>
            <a:r>
              <a:rPr lang="en-US" dirty="0">
                <a:solidFill>
                  <a:srgbClr val="0078D7"/>
                </a:solidFill>
              </a:rPr>
              <a:t>R Server for HDInsight</a:t>
            </a:r>
          </a:p>
          <a:p>
            <a:pPr>
              <a:spcBef>
                <a:spcPts val="0"/>
              </a:spcBef>
              <a:spcAft>
                <a:spcPts val="1836"/>
              </a:spcAft>
            </a:pPr>
            <a:r>
              <a:rPr lang="en-US" dirty="0"/>
              <a:t>Largest portable R parallel analytics library</a:t>
            </a:r>
          </a:p>
          <a:p>
            <a:pPr>
              <a:spcBef>
                <a:spcPts val="0"/>
              </a:spcBef>
              <a:spcAft>
                <a:spcPts val="1836"/>
              </a:spcAft>
            </a:pPr>
            <a:r>
              <a:rPr lang="en-US" dirty="0"/>
              <a:t>Terabyte-scale machine learning—1,000x larger than in open source R </a:t>
            </a:r>
          </a:p>
          <a:p>
            <a:pPr>
              <a:spcBef>
                <a:spcPts val="0"/>
              </a:spcBef>
              <a:spcAft>
                <a:spcPts val="1836"/>
              </a:spcAft>
            </a:pPr>
            <a:r>
              <a:rPr lang="en-US" dirty="0"/>
              <a:t>Up to 100x faster performance using Spark and optimized vector/math libraries</a:t>
            </a:r>
          </a:p>
          <a:p>
            <a:pPr>
              <a:spcBef>
                <a:spcPts val="0"/>
              </a:spcBef>
              <a:spcAft>
                <a:spcPts val="1836"/>
              </a:spcAft>
            </a:pPr>
            <a:r>
              <a:rPr lang="en-US" dirty="0"/>
              <a:t>Enterprise-grade security </a:t>
            </a:r>
            <a:br>
              <a:rPr lang="en-US" dirty="0"/>
            </a:br>
            <a:r>
              <a:rPr lang="en-US" dirty="0"/>
              <a:t>and support</a:t>
            </a:r>
          </a:p>
        </p:txBody>
      </p:sp>
      <p:grpSp>
        <p:nvGrpSpPr>
          <p:cNvPr id="3" name="Group 2"/>
          <p:cNvGrpSpPr/>
          <p:nvPr/>
        </p:nvGrpSpPr>
        <p:grpSpPr>
          <a:xfrm>
            <a:off x="749593" y="3741747"/>
            <a:ext cx="3127028" cy="1937557"/>
            <a:chOff x="624370" y="3842449"/>
            <a:chExt cx="3065992" cy="1899738"/>
          </a:xfrm>
        </p:grpSpPr>
        <p:sp>
          <p:nvSpPr>
            <p:cNvPr id="11" name="Freeform 30"/>
            <p:cNvSpPr>
              <a:spLocks/>
            </p:cNvSpPr>
            <p:nvPr/>
          </p:nvSpPr>
          <p:spPr bwMode="auto">
            <a:xfrm>
              <a:off x="624370" y="3842449"/>
              <a:ext cx="3065992" cy="1899738"/>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fontAlgn="auto">
                <a:spcBef>
                  <a:spcPts val="0"/>
                </a:spcBef>
                <a:spcAft>
                  <a:spcPts val="0"/>
                </a:spcAft>
              </a:pPr>
              <a:endParaRPr lang="en-US" sz="1836" kern="0">
                <a:solidFill>
                  <a:sysClr val="windowText" lastClr="000000"/>
                </a:solidFill>
              </a:endParaRP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35999" y="4140490"/>
              <a:ext cx="702008" cy="544056"/>
            </a:xfrm>
            <a:prstGeom prst="rect">
              <a:avLst/>
            </a:prstGeom>
          </p:spPr>
        </p:pic>
        <p:sp>
          <p:nvSpPr>
            <p:cNvPr id="13" name="Freeform 12"/>
            <p:cNvSpPr/>
            <p:nvPr/>
          </p:nvSpPr>
          <p:spPr>
            <a:xfrm>
              <a:off x="2554798" y="5109235"/>
              <a:ext cx="565613" cy="415567"/>
            </a:xfrm>
            <a:custGeom>
              <a:avLst/>
              <a:gdLst>
                <a:gd name="connsiteX0" fmla="*/ 2455369 w 4091553"/>
                <a:gd name="connsiteY0" fmla="*/ 2267062 h 2983459"/>
                <a:gd name="connsiteX1" fmla="*/ 2145071 w 4091553"/>
                <a:gd name="connsiteY1" fmla="*/ 2792182 h 2983459"/>
                <a:gd name="connsiteX2" fmla="*/ 2364666 w 4091553"/>
                <a:gd name="connsiteY2" fmla="*/ 2837533 h 2983459"/>
                <a:gd name="connsiteX3" fmla="*/ 2584262 w 4091553"/>
                <a:gd name="connsiteY3" fmla="*/ 2789795 h 2983459"/>
                <a:gd name="connsiteX4" fmla="*/ 2544878 w 4091553"/>
                <a:gd name="connsiteY4" fmla="*/ 2663289 h 2983459"/>
                <a:gd name="connsiteX5" fmla="*/ 2558006 w 4091553"/>
                <a:gd name="connsiteY5" fmla="*/ 2486659 h 2983459"/>
                <a:gd name="connsiteX6" fmla="*/ 2455369 w 4091553"/>
                <a:gd name="connsiteY6" fmla="*/ 2267062 h 2983459"/>
                <a:gd name="connsiteX7" fmla="*/ 314313 w 4091553"/>
                <a:gd name="connsiteY7" fmla="*/ 2047468 h 2983459"/>
                <a:gd name="connsiteX8" fmla="*/ 131716 w 4091553"/>
                <a:gd name="connsiteY8" fmla="*/ 2318382 h 2983459"/>
                <a:gd name="connsiteX9" fmla="*/ 419337 w 4091553"/>
                <a:gd name="connsiteY9" fmla="*/ 2607197 h 2983459"/>
                <a:gd name="connsiteX10" fmla="*/ 538683 w 4091553"/>
                <a:gd name="connsiteY10" fmla="*/ 2510528 h 2983459"/>
                <a:gd name="connsiteX11" fmla="*/ 314313 w 4091553"/>
                <a:gd name="connsiteY11" fmla="*/ 2047468 h 2983459"/>
                <a:gd name="connsiteX12" fmla="*/ 2796697 w 4091553"/>
                <a:gd name="connsiteY12" fmla="*/ 769874 h 2983459"/>
                <a:gd name="connsiteX13" fmla="*/ 2743290 w 4091553"/>
                <a:gd name="connsiteY13" fmla="*/ 808065 h 2983459"/>
                <a:gd name="connsiteX14" fmla="*/ 2835909 w 4091553"/>
                <a:gd name="connsiteY14" fmla="*/ 920071 h 2983459"/>
                <a:gd name="connsiteX15" fmla="*/ 2927977 w 4091553"/>
                <a:gd name="connsiteY15" fmla="*/ 896977 h 2983459"/>
                <a:gd name="connsiteX16" fmla="*/ 2577102 w 4091553"/>
                <a:gd name="connsiteY16" fmla="*/ 1153571 h 2983459"/>
                <a:gd name="connsiteX17" fmla="*/ 2644219 w 4091553"/>
                <a:gd name="connsiteY17" fmla="*/ 1051580 h 2983459"/>
                <a:gd name="connsiteX18" fmla="*/ 2540103 w 4091553"/>
                <a:gd name="connsiteY18" fmla="*/ 958442 h 2983459"/>
                <a:gd name="connsiteX19" fmla="*/ 2475658 w 4091553"/>
                <a:gd name="connsiteY19" fmla="*/ 1012743 h 2983459"/>
                <a:gd name="connsiteX20" fmla="*/ 2796697 w 4091553"/>
                <a:gd name="connsiteY20" fmla="*/ 769874 h 2983459"/>
                <a:gd name="connsiteX21" fmla="*/ 2441210 w 4091553"/>
                <a:gd name="connsiteY21" fmla="*/ 550290 h 2983459"/>
                <a:gd name="connsiteX22" fmla="*/ 2471779 w 4091553"/>
                <a:gd name="connsiteY22" fmla="*/ 550782 h 2983459"/>
                <a:gd name="connsiteX23" fmla="*/ 2580682 w 4091553"/>
                <a:gd name="connsiteY23" fmla="*/ 567584 h 2983459"/>
                <a:gd name="connsiteX24" fmla="*/ 2327669 w 4091553"/>
                <a:gd name="connsiteY24" fmla="*/ 820596 h 2983459"/>
                <a:gd name="connsiteX25" fmla="*/ 2441210 w 4091553"/>
                <a:gd name="connsiteY25" fmla="*/ 550290 h 2983459"/>
                <a:gd name="connsiteX26" fmla="*/ 3814027 w 4091553"/>
                <a:gd name="connsiteY26" fmla="*/ 254893 h 2983459"/>
                <a:gd name="connsiteX27" fmla="*/ 3704344 w 4091553"/>
                <a:gd name="connsiteY27" fmla="*/ 441155 h 2983459"/>
                <a:gd name="connsiteX28" fmla="*/ 3541432 w 4091553"/>
                <a:gd name="connsiteY28" fmla="*/ 467805 h 2983459"/>
                <a:gd name="connsiteX29" fmla="*/ 3690501 w 4091553"/>
                <a:gd name="connsiteY29" fmla="*/ 379108 h 2983459"/>
                <a:gd name="connsiteX30" fmla="*/ 3814027 w 4091553"/>
                <a:gd name="connsiteY30" fmla="*/ 254893 h 2983459"/>
                <a:gd name="connsiteX31" fmla="*/ 2447014 w 4091553"/>
                <a:gd name="connsiteY31" fmla="*/ 87819 h 2983459"/>
                <a:gd name="connsiteX32" fmla="*/ 1776294 w 4091553"/>
                <a:gd name="connsiteY32" fmla="*/ 401696 h 2983459"/>
                <a:gd name="connsiteX33" fmla="*/ 1965438 w 4091553"/>
                <a:gd name="connsiteY33" fmla="*/ 406041 h 2983459"/>
                <a:gd name="connsiteX34" fmla="*/ 1973110 w 4091553"/>
                <a:gd name="connsiteY34" fmla="*/ 407143 h 2983459"/>
                <a:gd name="connsiteX35" fmla="*/ 1941080 w 4091553"/>
                <a:gd name="connsiteY35" fmla="*/ 415856 h 2983459"/>
                <a:gd name="connsiteX36" fmla="*/ 1614169 w 4091553"/>
                <a:gd name="connsiteY36" fmla="*/ 483859 h 2983459"/>
                <a:gd name="connsiteX37" fmla="*/ 996511 w 4091553"/>
                <a:gd name="connsiteY37" fmla="*/ 1285034 h 2983459"/>
                <a:gd name="connsiteX38" fmla="*/ 1182322 w 4091553"/>
                <a:gd name="connsiteY38" fmla="*/ 1578898 h 2983459"/>
                <a:gd name="connsiteX39" fmla="*/ 1375110 w 4091553"/>
                <a:gd name="connsiteY39" fmla="*/ 1359120 h 2983459"/>
                <a:gd name="connsiteX40" fmla="*/ 1149548 w 4091553"/>
                <a:gd name="connsiteY40" fmla="*/ 1825668 h 2983459"/>
                <a:gd name="connsiteX41" fmla="*/ 1361248 w 4091553"/>
                <a:gd name="connsiteY41" fmla="*/ 1950338 h 2983459"/>
                <a:gd name="connsiteX42" fmla="*/ 1722130 w 4091553"/>
                <a:gd name="connsiteY42" fmla="*/ 1771687 h 2983459"/>
                <a:gd name="connsiteX43" fmla="*/ 1953476 w 4091553"/>
                <a:gd name="connsiteY43" fmla="*/ 1748552 h 2983459"/>
                <a:gd name="connsiteX44" fmla="*/ 2036375 w 4091553"/>
                <a:gd name="connsiteY44" fmla="*/ 830879 h 2983459"/>
                <a:gd name="connsiteX45" fmla="*/ 2046015 w 4091553"/>
                <a:gd name="connsiteY45" fmla="*/ 1866154 h 2983459"/>
                <a:gd name="connsiteX46" fmla="*/ 2018003 w 4091553"/>
                <a:gd name="connsiteY46" fmla="*/ 1861564 h 2983459"/>
                <a:gd name="connsiteX47" fmla="*/ 1982534 w 4091553"/>
                <a:gd name="connsiteY47" fmla="*/ 1852495 h 2983459"/>
                <a:gd name="connsiteX48" fmla="*/ 1946204 w 4091553"/>
                <a:gd name="connsiteY48" fmla="*/ 1846824 h 2983459"/>
                <a:gd name="connsiteX49" fmla="*/ 1936022 w 4091553"/>
                <a:gd name="connsiteY49" fmla="*/ 1844465 h 2983459"/>
                <a:gd name="connsiteX50" fmla="*/ 1846038 w 4091553"/>
                <a:gd name="connsiteY50" fmla="*/ 1841415 h 2983459"/>
                <a:gd name="connsiteX51" fmla="*/ 1832934 w 4091553"/>
                <a:gd name="connsiteY51" fmla="*/ 1844470 h 2983459"/>
                <a:gd name="connsiteX52" fmla="*/ 1825021 w 4091553"/>
                <a:gd name="connsiteY52" fmla="*/ 1845158 h 2983459"/>
                <a:gd name="connsiteX53" fmla="*/ 1303686 w 4091553"/>
                <a:gd name="connsiteY53" fmla="*/ 2057015 h 2983459"/>
                <a:gd name="connsiteX54" fmla="*/ 1006787 w 4091553"/>
                <a:gd name="connsiteY54" fmla="*/ 1821531 h 2983459"/>
                <a:gd name="connsiteX55" fmla="*/ 1000703 w 4091553"/>
                <a:gd name="connsiteY55" fmla="*/ 1813649 h 2983459"/>
                <a:gd name="connsiteX56" fmla="*/ 1023589 w 4091553"/>
                <a:gd name="connsiteY56" fmla="*/ 1775406 h 2983459"/>
                <a:gd name="connsiteX57" fmla="*/ 1104380 w 4091553"/>
                <a:gd name="connsiteY57" fmla="*/ 1658401 h 2983459"/>
                <a:gd name="connsiteX58" fmla="*/ 877623 w 4091553"/>
                <a:gd name="connsiteY58" fmla="*/ 1299172 h 2983459"/>
                <a:gd name="connsiteX59" fmla="*/ 1279817 w 4091553"/>
                <a:gd name="connsiteY59" fmla="*/ 685736 h 2983459"/>
                <a:gd name="connsiteX60" fmla="*/ 215901 w 4091553"/>
                <a:gd name="connsiteY60" fmla="*/ 1315433 h 2983459"/>
                <a:gd name="connsiteX61" fmla="*/ 167729 w 4091553"/>
                <a:gd name="connsiteY61" fmla="*/ 1272061 h 2983459"/>
                <a:gd name="connsiteX62" fmla="*/ 181813 w 4091553"/>
                <a:gd name="connsiteY62" fmla="*/ 1264158 h 2983459"/>
                <a:gd name="connsiteX63" fmla="*/ 234352 w 4091553"/>
                <a:gd name="connsiteY63" fmla="*/ 999615 h 2983459"/>
                <a:gd name="connsiteX64" fmla="*/ 98499 w 4091553"/>
                <a:gd name="connsiteY64" fmla="*/ 1270717 h 2983459"/>
                <a:gd name="connsiteX65" fmla="*/ 109513 w 4091553"/>
                <a:gd name="connsiteY65" fmla="*/ 1276004 h 2983459"/>
                <a:gd name="connsiteX66" fmla="*/ 111148 w 4091553"/>
                <a:gd name="connsiteY66" fmla="*/ 1291713 h 2983459"/>
                <a:gd name="connsiteX67" fmla="*/ 372793 w 4091553"/>
                <a:gd name="connsiteY67" fmla="*/ 1476996 h 2983459"/>
                <a:gd name="connsiteX68" fmla="*/ 616614 w 4091553"/>
                <a:gd name="connsiteY68" fmla="*/ 2422013 h 2983459"/>
                <a:gd name="connsiteX69" fmla="*/ 629485 w 4091553"/>
                <a:gd name="connsiteY69" fmla="*/ 2446757 h 2983459"/>
                <a:gd name="connsiteX70" fmla="*/ 629032 w 4091553"/>
                <a:gd name="connsiteY70" fmla="*/ 2458370 h 2983459"/>
                <a:gd name="connsiteX71" fmla="*/ 610291 w 4091553"/>
                <a:gd name="connsiteY71" fmla="*/ 2638226 h 2983459"/>
                <a:gd name="connsiteX72" fmla="*/ 566133 w 4091553"/>
                <a:gd name="connsiteY72" fmla="*/ 2789795 h 2983459"/>
                <a:gd name="connsiteX73" fmla="*/ 1023225 w 4091553"/>
                <a:gd name="connsiteY73" fmla="*/ 2878111 h 2983459"/>
                <a:gd name="connsiteX74" fmla="*/ 1038741 w 4091553"/>
                <a:gd name="connsiteY74" fmla="*/ 2732510 h 2983459"/>
                <a:gd name="connsiteX75" fmla="*/ 1127056 w 4091553"/>
                <a:gd name="connsiteY75" fmla="*/ 2542750 h 2983459"/>
                <a:gd name="connsiteX76" fmla="*/ 1130786 w 4091553"/>
                <a:gd name="connsiteY76" fmla="*/ 2340609 h 2983459"/>
                <a:gd name="connsiteX77" fmla="*/ 1128001 w 4091553"/>
                <a:gd name="connsiteY77" fmla="*/ 2264619 h 2983459"/>
                <a:gd name="connsiteX78" fmla="*/ 1149258 w 4091553"/>
                <a:gd name="connsiteY78" fmla="*/ 2289370 h 2983459"/>
                <a:gd name="connsiteX79" fmla="*/ 1676043 w 4091553"/>
                <a:gd name="connsiteY79" fmla="*/ 2259902 h 2983459"/>
                <a:gd name="connsiteX80" fmla="*/ 1687978 w 4091553"/>
                <a:gd name="connsiteY80" fmla="*/ 2443694 h 2983459"/>
                <a:gd name="connsiteX81" fmla="*/ 1460029 w 4091553"/>
                <a:gd name="connsiteY81" fmla="*/ 2613164 h 2983459"/>
                <a:gd name="connsiteX82" fmla="*/ 1713040 w 4091553"/>
                <a:gd name="connsiteY82" fmla="*/ 2919882 h 2983459"/>
                <a:gd name="connsiteX83" fmla="*/ 2182068 w 4091553"/>
                <a:gd name="connsiteY83" fmla="*/ 2548718 h 2983459"/>
                <a:gd name="connsiteX84" fmla="*/ 2437467 w 4091553"/>
                <a:gd name="connsiteY84" fmla="*/ 1988988 h 2983459"/>
                <a:gd name="connsiteX85" fmla="*/ 2211840 w 4091553"/>
                <a:gd name="connsiteY85" fmla="*/ 1744629 h 2983459"/>
                <a:gd name="connsiteX86" fmla="*/ 2209243 w 4091553"/>
                <a:gd name="connsiteY86" fmla="*/ 1737830 h 2983459"/>
                <a:gd name="connsiteX87" fmla="*/ 2244278 w 4091553"/>
                <a:gd name="connsiteY87" fmla="*/ 1759883 h 2983459"/>
                <a:gd name="connsiteX88" fmla="*/ 2500720 w 4091553"/>
                <a:gd name="connsiteY88" fmla="*/ 1901867 h 2983459"/>
                <a:gd name="connsiteX89" fmla="*/ 2785955 w 4091553"/>
                <a:gd name="connsiteY89" fmla="*/ 2095206 h 2983459"/>
                <a:gd name="connsiteX90" fmla="*/ 3066417 w 4091553"/>
                <a:gd name="connsiteY90" fmla="*/ 1849354 h 2983459"/>
                <a:gd name="connsiteX91" fmla="*/ 3022259 w 4091553"/>
                <a:gd name="connsiteY91" fmla="*/ 1845774 h 2983459"/>
                <a:gd name="connsiteX92" fmla="*/ 2650395 w 4091553"/>
                <a:gd name="connsiteY92" fmla="*/ 1549438 h 2983459"/>
                <a:gd name="connsiteX93" fmla="*/ 2662763 w 4091553"/>
                <a:gd name="connsiteY93" fmla="*/ 1485537 h 2983459"/>
                <a:gd name="connsiteX94" fmla="*/ 2686209 w 4091553"/>
                <a:gd name="connsiteY94" fmla="*/ 1511089 h 2983459"/>
                <a:gd name="connsiteX95" fmla="*/ 3646436 w 4091553"/>
                <a:gd name="connsiteY95" fmla="*/ 1753877 h 2983459"/>
                <a:gd name="connsiteX96" fmla="*/ 3805165 w 4091553"/>
                <a:gd name="connsiteY96" fmla="*/ 186873 h 2983459"/>
                <a:gd name="connsiteX97" fmla="*/ 3681046 w 4091553"/>
                <a:gd name="connsiteY97" fmla="*/ 330088 h 2983459"/>
                <a:gd name="connsiteX98" fmla="*/ 3499642 w 4091553"/>
                <a:gd name="connsiteY98" fmla="*/ 421983 h 2983459"/>
                <a:gd name="connsiteX99" fmla="*/ 3386217 w 4091553"/>
                <a:gd name="connsiteY99" fmla="*/ 1235418 h 2983459"/>
                <a:gd name="connsiteX100" fmla="*/ 3366410 w 4091553"/>
                <a:gd name="connsiteY100" fmla="*/ 1251046 h 2983459"/>
                <a:gd name="connsiteX101" fmla="*/ 3370580 w 4091553"/>
                <a:gd name="connsiteY101" fmla="*/ 1243005 h 2983459"/>
                <a:gd name="connsiteX102" fmla="*/ 3413711 w 4091553"/>
                <a:gd name="connsiteY102" fmla="*/ 987681 h 2983459"/>
                <a:gd name="connsiteX103" fmla="*/ 3245435 w 4091553"/>
                <a:gd name="connsiteY103" fmla="*/ 1019904 h 2983459"/>
                <a:gd name="connsiteX104" fmla="*/ 3263336 w 4091553"/>
                <a:gd name="connsiteY104" fmla="*/ 880270 h 2983459"/>
                <a:gd name="connsiteX105" fmla="*/ 3105801 w 4091553"/>
                <a:gd name="connsiteY105" fmla="*/ 879076 h 2983459"/>
                <a:gd name="connsiteX106" fmla="*/ 3151152 w 4091553"/>
                <a:gd name="connsiteY106" fmla="*/ 775246 h 2983459"/>
                <a:gd name="connsiteX107" fmla="*/ 3060077 w 4091553"/>
                <a:gd name="connsiteY107" fmla="*/ 733176 h 2983459"/>
                <a:gd name="connsiteX108" fmla="*/ 3034836 w 4091553"/>
                <a:gd name="connsiteY108" fmla="*/ 733348 h 2983459"/>
                <a:gd name="connsiteX109" fmla="*/ 3055591 w 4091553"/>
                <a:gd name="connsiteY109" fmla="*/ 725896 h 2983459"/>
                <a:gd name="connsiteX110" fmla="*/ 3086706 w 4091553"/>
                <a:gd name="connsiteY110" fmla="*/ 716766 h 2983459"/>
                <a:gd name="connsiteX111" fmla="*/ 3237081 w 4091553"/>
                <a:gd name="connsiteY111" fmla="*/ 682156 h 2983459"/>
                <a:gd name="connsiteX112" fmla="*/ 3084319 w 4091553"/>
                <a:gd name="connsiteY112" fmla="*/ 487623 h 2983459"/>
                <a:gd name="connsiteX113" fmla="*/ 2925104 w 4091553"/>
                <a:gd name="connsiteY113" fmla="*/ 468100 h 2983459"/>
                <a:gd name="connsiteX114" fmla="*/ 2910402 w 4091553"/>
                <a:gd name="connsiteY114" fmla="*/ 467317 h 2983459"/>
                <a:gd name="connsiteX115" fmla="*/ 2910522 w 4091553"/>
                <a:gd name="connsiteY115" fmla="*/ 467001 h 2983459"/>
                <a:gd name="connsiteX116" fmla="*/ 3013905 w 4091553"/>
                <a:gd name="connsiteY116" fmla="*/ 435113 h 2983459"/>
                <a:gd name="connsiteX117" fmla="*/ 2447014 w 4091553"/>
                <a:gd name="connsiteY117" fmla="*/ 87819 h 2983459"/>
                <a:gd name="connsiteX118" fmla="*/ 2423362 w 4091553"/>
                <a:gd name="connsiteY118" fmla="*/ 615 h 2983459"/>
                <a:gd name="connsiteX119" fmla="*/ 2501814 w 4091553"/>
                <a:gd name="connsiteY119" fmla="*/ 7487 h 2983459"/>
                <a:gd name="connsiteX120" fmla="*/ 3076949 w 4091553"/>
                <a:gd name="connsiteY120" fmla="*/ 398450 h 2983459"/>
                <a:gd name="connsiteX121" fmla="*/ 3316050 w 4091553"/>
                <a:gd name="connsiteY121" fmla="*/ 679556 h 2983459"/>
                <a:gd name="connsiteX122" fmla="*/ 3274046 w 4091553"/>
                <a:gd name="connsiteY122" fmla="*/ 782951 h 2983459"/>
                <a:gd name="connsiteX123" fmla="*/ 3448324 w 4091553"/>
                <a:gd name="connsiteY123" fmla="*/ 917242 h 2983459"/>
                <a:gd name="connsiteX124" fmla="*/ 3425907 w 4091553"/>
                <a:gd name="connsiteY124" fmla="*/ 421070 h 2983459"/>
                <a:gd name="connsiteX125" fmla="*/ 3629465 w 4091553"/>
                <a:gd name="connsiteY125" fmla="*/ 291826 h 2983459"/>
                <a:gd name="connsiteX126" fmla="*/ 3787790 w 4091553"/>
                <a:gd name="connsiteY126" fmla="*/ 143197 h 2983459"/>
                <a:gd name="connsiteX127" fmla="*/ 4091512 w 4091553"/>
                <a:gd name="connsiteY127" fmla="*/ 973587 h 2983459"/>
                <a:gd name="connsiteX128" fmla="*/ 3590693 w 4091553"/>
                <a:gd name="connsiteY128" fmla="*/ 1881525 h 2983459"/>
                <a:gd name="connsiteX129" fmla="*/ 3165059 w 4091553"/>
                <a:gd name="connsiteY129" fmla="*/ 1891067 h 2983459"/>
                <a:gd name="connsiteX130" fmla="*/ 3111817 w 4091553"/>
                <a:gd name="connsiteY130" fmla="*/ 1872530 h 2983459"/>
                <a:gd name="connsiteX131" fmla="*/ 3105427 w 4091553"/>
                <a:gd name="connsiteY131" fmla="*/ 1902782 h 2983459"/>
                <a:gd name="connsiteX132" fmla="*/ 2776454 w 4091553"/>
                <a:gd name="connsiteY132" fmla="*/ 2169092 h 2983459"/>
                <a:gd name="connsiteX133" fmla="*/ 2488887 w 4091553"/>
                <a:gd name="connsiteY133" fmla="*/ 2039848 h 2983459"/>
                <a:gd name="connsiteX134" fmla="*/ 2475962 w 4091553"/>
                <a:gd name="connsiteY134" fmla="*/ 2207865 h 2983459"/>
                <a:gd name="connsiteX135" fmla="*/ 2605206 w 4091553"/>
                <a:gd name="connsiteY135" fmla="*/ 2482507 h 2983459"/>
                <a:gd name="connsiteX136" fmla="*/ 2598744 w 4091553"/>
                <a:gd name="connsiteY136" fmla="*/ 2631138 h 2983459"/>
                <a:gd name="connsiteX137" fmla="*/ 2627824 w 4091553"/>
                <a:gd name="connsiteY137" fmla="*/ 2815310 h 2983459"/>
                <a:gd name="connsiteX138" fmla="*/ 2414572 w 4091553"/>
                <a:gd name="connsiteY138" fmla="*/ 2892857 h 2983459"/>
                <a:gd name="connsiteX139" fmla="*/ 2081768 w 4091553"/>
                <a:gd name="connsiteY139" fmla="*/ 2821772 h 2983459"/>
                <a:gd name="connsiteX140" fmla="*/ 2071611 w 4091553"/>
                <a:gd name="connsiteY140" fmla="*/ 2762177 h 2983459"/>
                <a:gd name="connsiteX141" fmla="*/ 2071078 w 4091553"/>
                <a:gd name="connsiteY141" fmla="*/ 2744183 h 2983459"/>
                <a:gd name="connsiteX142" fmla="*/ 2021047 w 4091553"/>
                <a:gd name="connsiteY142" fmla="*/ 2791607 h 2983459"/>
                <a:gd name="connsiteX143" fmla="*/ 1706963 w 4091553"/>
                <a:gd name="connsiteY143" fmla="*/ 2983326 h 2983459"/>
                <a:gd name="connsiteX144" fmla="*/ 1393546 w 4091553"/>
                <a:gd name="connsiteY144" fmla="*/ 2605289 h 2983459"/>
                <a:gd name="connsiteX145" fmla="*/ 1538945 w 4091553"/>
                <a:gd name="connsiteY145" fmla="*/ 2446965 h 2983459"/>
                <a:gd name="connsiteX146" fmla="*/ 1206143 w 4091553"/>
                <a:gd name="connsiteY146" fmla="*/ 2414653 h 2983459"/>
                <a:gd name="connsiteX147" fmla="*/ 1193218 w 4091553"/>
                <a:gd name="connsiteY147" fmla="*/ 2560053 h 2983459"/>
                <a:gd name="connsiteX148" fmla="*/ 1109209 w 4091553"/>
                <a:gd name="connsiteY148" fmla="*/ 2702221 h 2983459"/>
                <a:gd name="connsiteX149" fmla="*/ 1041356 w 4091553"/>
                <a:gd name="connsiteY149" fmla="*/ 2957478 h 2983459"/>
                <a:gd name="connsiteX150" fmla="*/ 504995 w 4091553"/>
                <a:gd name="connsiteY150" fmla="*/ 2844389 h 2983459"/>
                <a:gd name="connsiteX151" fmla="*/ 517920 w 4091553"/>
                <a:gd name="connsiteY151" fmla="*/ 2656986 h 2983459"/>
                <a:gd name="connsiteX152" fmla="*/ 388676 w 4091553"/>
                <a:gd name="connsiteY152" fmla="*/ 2682835 h 2983459"/>
                <a:gd name="connsiteX153" fmla="*/ 52642 w 4091553"/>
                <a:gd name="connsiteY153" fmla="*/ 2337107 h 2983459"/>
                <a:gd name="connsiteX154" fmla="*/ 256201 w 4091553"/>
                <a:gd name="connsiteY154" fmla="*/ 1981687 h 2983459"/>
                <a:gd name="connsiteX155" fmla="*/ 275587 w 4091553"/>
                <a:gd name="connsiteY155" fmla="*/ 1626266 h 2983459"/>
                <a:gd name="connsiteX156" fmla="*/ 269125 w 4091553"/>
                <a:gd name="connsiteY156" fmla="*/ 928351 h 2983459"/>
                <a:gd name="connsiteX157" fmla="*/ 288512 w 4091553"/>
                <a:gd name="connsiteY157" fmla="*/ 1244997 h 2983459"/>
                <a:gd name="connsiteX158" fmla="*/ 1303076 w 4091553"/>
                <a:gd name="connsiteY158" fmla="*/ 602009 h 2983459"/>
                <a:gd name="connsiteX159" fmla="*/ 1603568 w 4091553"/>
                <a:gd name="connsiteY159" fmla="*/ 382295 h 2983459"/>
                <a:gd name="connsiteX160" fmla="*/ 1683785 w 4091553"/>
                <a:gd name="connsiteY160" fmla="*/ 373882 h 2983459"/>
                <a:gd name="connsiteX161" fmla="*/ 1693081 w 4091553"/>
                <a:gd name="connsiteY161" fmla="*/ 353995 h 2983459"/>
                <a:gd name="connsiteX162" fmla="*/ 1949297 w 4091553"/>
                <a:gd name="connsiteY162" fmla="*/ 107652 h 2983459"/>
                <a:gd name="connsiteX163" fmla="*/ 2423362 w 4091553"/>
                <a:gd name="connsiteY163" fmla="*/ 615 h 2983459"/>
                <a:gd name="connsiteX0" fmla="*/ 2435138 w 4071322"/>
                <a:gd name="connsiteY0" fmla="*/ 2267062 h 2983459"/>
                <a:gd name="connsiteX1" fmla="*/ 2124840 w 4071322"/>
                <a:gd name="connsiteY1" fmla="*/ 2792182 h 2983459"/>
                <a:gd name="connsiteX2" fmla="*/ 2344435 w 4071322"/>
                <a:gd name="connsiteY2" fmla="*/ 2837533 h 2983459"/>
                <a:gd name="connsiteX3" fmla="*/ 2564031 w 4071322"/>
                <a:gd name="connsiteY3" fmla="*/ 2789795 h 2983459"/>
                <a:gd name="connsiteX4" fmla="*/ 2524647 w 4071322"/>
                <a:gd name="connsiteY4" fmla="*/ 2663289 h 2983459"/>
                <a:gd name="connsiteX5" fmla="*/ 2537775 w 4071322"/>
                <a:gd name="connsiteY5" fmla="*/ 2486659 h 2983459"/>
                <a:gd name="connsiteX6" fmla="*/ 2435138 w 4071322"/>
                <a:gd name="connsiteY6" fmla="*/ 2267062 h 2983459"/>
                <a:gd name="connsiteX7" fmla="*/ 294082 w 4071322"/>
                <a:gd name="connsiteY7" fmla="*/ 2047468 h 2983459"/>
                <a:gd name="connsiteX8" fmla="*/ 111485 w 4071322"/>
                <a:gd name="connsiteY8" fmla="*/ 2318382 h 2983459"/>
                <a:gd name="connsiteX9" fmla="*/ 399106 w 4071322"/>
                <a:gd name="connsiteY9" fmla="*/ 2607197 h 2983459"/>
                <a:gd name="connsiteX10" fmla="*/ 518452 w 4071322"/>
                <a:gd name="connsiteY10" fmla="*/ 2510528 h 2983459"/>
                <a:gd name="connsiteX11" fmla="*/ 294082 w 4071322"/>
                <a:gd name="connsiteY11" fmla="*/ 2047468 h 2983459"/>
                <a:gd name="connsiteX12" fmla="*/ 2776466 w 4071322"/>
                <a:gd name="connsiteY12" fmla="*/ 769874 h 2983459"/>
                <a:gd name="connsiteX13" fmla="*/ 2723059 w 4071322"/>
                <a:gd name="connsiteY13" fmla="*/ 808065 h 2983459"/>
                <a:gd name="connsiteX14" fmla="*/ 2815678 w 4071322"/>
                <a:gd name="connsiteY14" fmla="*/ 920071 h 2983459"/>
                <a:gd name="connsiteX15" fmla="*/ 2907746 w 4071322"/>
                <a:gd name="connsiteY15" fmla="*/ 896977 h 2983459"/>
                <a:gd name="connsiteX16" fmla="*/ 2556871 w 4071322"/>
                <a:gd name="connsiteY16" fmla="*/ 1153571 h 2983459"/>
                <a:gd name="connsiteX17" fmla="*/ 2623988 w 4071322"/>
                <a:gd name="connsiteY17" fmla="*/ 1051580 h 2983459"/>
                <a:gd name="connsiteX18" fmla="*/ 2519872 w 4071322"/>
                <a:gd name="connsiteY18" fmla="*/ 958442 h 2983459"/>
                <a:gd name="connsiteX19" fmla="*/ 2455427 w 4071322"/>
                <a:gd name="connsiteY19" fmla="*/ 1012743 h 2983459"/>
                <a:gd name="connsiteX20" fmla="*/ 2776466 w 4071322"/>
                <a:gd name="connsiteY20" fmla="*/ 769874 h 2983459"/>
                <a:gd name="connsiteX21" fmla="*/ 2420979 w 4071322"/>
                <a:gd name="connsiteY21" fmla="*/ 550290 h 2983459"/>
                <a:gd name="connsiteX22" fmla="*/ 2451548 w 4071322"/>
                <a:gd name="connsiteY22" fmla="*/ 550782 h 2983459"/>
                <a:gd name="connsiteX23" fmla="*/ 2560451 w 4071322"/>
                <a:gd name="connsiteY23" fmla="*/ 567584 h 2983459"/>
                <a:gd name="connsiteX24" fmla="*/ 2307438 w 4071322"/>
                <a:gd name="connsiteY24" fmla="*/ 820596 h 2983459"/>
                <a:gd name="connsiteX25" fmla="*/ 2420979 w 4071322"/>
                <a:gd name="connsiteY25" fmla="*/ 550290 h 2983459"/>
                <a:gd name="connsiteX26" fmla="*/ 3793796 w 4071322"/>
                <a:gd name="connsiteY26" fmla="*/ 254893 h 2983459"/>
                <a:gd name="connsiteX27" fmla="*/ 3684113 w 4071322"/>
                <a:gd name="connsiteY27" fmla="*/ 441155 h 2983459"/>
                <a:gd name="connsiteX28" fmla="*/ 3521201 w 4071322"/>
                <a:gd name="connsiteY28" fmla="*/ 467805 h 2983459"/>
                <a:gd name="connsiteX29" fmla="*/ 3670270 w 4071322"/>
                <a:gd name="connsiteY29" fmla="*/ 379108 h 2983459"/>
                <a:gd name="connsiteX30" fmla="*/ 3793796 w 4071322"/>
                <a:gd name="connsiteY30" fmla="*/ 254893 h 2983459"/>
                <a:gd name="connsiteX31" fmla="*/ 2426783 w 4071322"/>
                <a:gd name="connsiteY31" fmla="*/ 87819 h 2983459"/>
                <a:gd name="connsiteX32" fmla="*/ 1756063 w 4071322"/>
                <a:gd name="connsiteY32" fmla="*/ 401696 h 2983459"/>
                <a:gd name="connsiteX33" fmla="*/ 1945207 w 4071322"/>
                <a:gd name="connsiteY33" fmla="*/ 406041 h 2983459"/>
                <a:gd name="connsiteX34" fmla="*/ 1952879 w 4071322"/>
                <a:gd name="connsiteY34" fmla="*/ 407143 h 2983459"/>
                <a:gd name="connsiteX35" fmla="*/ 1920849 w 4071322"/>
                <a:gd name="connsiteY35" fmla="*/ 415856 h 2983459"/>
                <a:gd name="connsiteX36" fmla="*/ 1593938 w 4071322"/>
                <a:gd name="connsiteY36" fmla="*/ 483859 h 2983459"/>
                <a:gd name="connsiteX37" fmla="*/ 976280 w 4071322"/>
                <a:gd name="connsiteY37" fmla="*/ 1285034 h 2983459"/>
                <a:gd name="connsiteX38" fmla="*/ 1162091 w 4071322"/>
                <a:gd name="connsiteY38" fmla="*/ 1578898 h 2983459"/>
                <a:gd name="connsiteX39" fmla="*/ 1354879 w 4071322"/>
                <a:gd name="connsiteY39" fmla="*/ 1359120 h 2983459"/>
                <a:gd name="connsiteX40" fmla="*/ 1129317 w 4071322"/>
                <a:gd name="connsiteY40" fmla="*/ 1825668 h 2983459"/>
                <a:gd name="connsiteX41" fmla="*/ 1341017 w 4071322"/>
                <a:gd name="connsiteY41" fmla="*/ 1950338 h 2983459"/>
                <a:gd name="connsiteX42" fmla="*/ 1701899 w 4071322"/>
                <a:gd name="connsiteY42" fmla="*/ 1771687 h 2983459"/>
                <a:gd name="connsiteX43" fmla="*/ 1933245 w 4071322"/>
                <a:gd name="connsiteY43" fmla="*/ 1748552 h 2983459"/>
                <a:gd name="connsiteX44" fmla="*/ 2016144 w 4071322"/>
                <a:gd name="connsiteY44" fmla="*/ 830879 h 2983459"/>
                <a:gd name="connsiteX45" fmla="*/ 2025784 w 4071322"/>
                <a:gd name="connsiteY45" fmla="*/ 1866154 h 2983459"/>
                <a:gd name="connsiteX46" fmla="*/ 1997772 w 4071322"/>
                <a:gd name="connsiteY46" fmla="*/ 1861564 h 2983459"/>
                <a:gd name="connsiteX47" fmla="*/ 1962303 w 4071322"/>
                <a:gd name="connsiteY47" fmla="*/ 1852495 h 2983459"/>
                <a:gd name="connsiteX48" fmla="*/ 1925973 w 4071322"/>
                <a:gd name="connsiteY48" fmla="*/ 1846824 h 2983459"/>
                <a:gd name="connsiteX49" fmla="*/ 1915791 w 4071322"/>
                <a:gd name="connsiteY49" fmla="*/ 1844465 h 2983459"/>
                <a:gd name="connsiteX50" fmla="*/ 1825807 w 4071322"/>
                <a:gd name="connsiteY50" fmla="*/ 1841415 h 2983459"/>
                <a:gd name="connsiteX51" fmla="*/ 1812703 w 4071322"/>
                <a:gd name="connsiteY51" fmla="*/ 1844470 h 2983459"/>
                <a:gd name="connsiteX52" fmla="*/ 1804790 w 4071322"/>
                <a:gd name="connsiteY52" fmla="*/ 1845158 h 2983459"/>
                <a:gd name="connsiteX53" fmla="*/ 1283455 w 4071322"/>
                <a:gd name="connsiteY53" fmla="*/ 2057015 h 2983459"/>
                <a:gd name="connsiteX54" fmla="*/ 986556 w 4071322"/>
                <a:gd name="connsiteY54" fmla="*/ 1821531 h 2983459"/>
                <a:gd name="connsiteX55" fmla="*/ 980472 w 4071322"/>
                <a:gd name="connsiteY55" fmla="*/ 1813649 h 2983459"/>
                <a:gd name="connsiteX56" fmla="*/ 1003358 w 4071322"/>
                <a:gd name="connsiteY56" fmla="*/ 1775406 h 2983459"/>
                <a:gd name="connsiteX57" fmla="*/ 1084149 w 4071322"/>
                <a:gd name="connsiteY57" fmla="*/ 1658401 h 2983459"/>
                <a:gd name="connsiteX58" fmla="*/ 857392 w 4071322"/>
                <a:gd name="connsiteY58" fmla="*/ 1299172 h 2983459"/>
                <a:gd name="connsiteX59" fmla="*/ 1259586 w 4071322"/>
                <a:gd name="connsiteY59" fmla="*/ 685736 h 2983459"/>
                <a:gd name="connsiteX60" fmla="*/ 195670 w 4071322"/>
                <a:gd name="connsiteY60" fmla="*/ 1315433 h 2983459"/>
                <a:gd name="connsiteX61" fmla="*/ 147498 w 4071322"/>
                <a:gd name="connsiteY61" fmla="*/ 1272061 h 2983459"/>
                <a:gd name="connsiteX62" fmla="*/ 161582 w 4071322"/>
                <a:gd name="connsiteY62" fmla="*/ 1264158 h 2983459"/>
                <a:gd name="connsiteX63" fmla="*/ 214121 w 4071322"/>
                <a:gd name="connsiteY63" fmla="*/ 999615 h 2983459"/>
                <a:gd name="connsiteX64" fmla="*/ 78268 w 4071322"/>
                <a:gd name="connsiteY64" fmla="*/ 1270717 h 2983459"/>
                <a:gd name="connsiteX65" fmla="*/ 89282 w 4071322"/>
                <a:gd name="connsiteY65" fmla="*/ 1276004 h 2983459"/>
                <a:gd name="connsiteX66" fmla="*/ 90917 w 4071322"/>
                <a:gd name="connsiteY66" fmla="*/ 1291713 h 2983459"/>
                <a:gd name="connsiteX67" fmla="*/ 352562 w 4071322"/>
                <a:gd name="connsiteY67" fmla="*/ 1476996 h 2983459"/>
                <a:gd name="connsiteX68" fmla="*/ 596383 w 4071322"/>
                <a:gd name="connsiteY68" fmla="*/ 2422013 h 2983459"/>
                <a:gd name="connsiteX69" fmla="*/ 609254 w 4071322"/>
                <a:gd name="connsiteY69" fmla="*/ 2446757 h 2983459"/>
                <a:gd name="connsiteX70" fmla="*/ 608801 w 4071322"/>
                <a:gd name="connsiteY70" fmla="*/ 2458370 h 2983459"/>
                <a:gd name="connsiteX71" fmla="*/ 590060 w 4071322"/>
                <a:gd name="connsiteY71" fmla="*/ 2638226 h 2983459"/>
                <a:gd name="connsiteX72" fmla="*/ 545902 w 4071322"/>
                <a:gd name="connsiteY72" fmla="*/ 2789795 h 2983459"/>
                <a:gd name="connsiteX73" fmla="*/ 1002994 w 4071322"/>
                <a:gd name="connsiteY73" fmla="*/ 2878111 h 2983459"/>
                <a:gd name="connsiteX74" fmla="*/ 1018510 w 4071322"/>
                <a:gd name="connsiteY74" fmla="*/ 2732510 h 2983459"/>
                <a:gd name="connsiteX75" fmla="*/ 1106825 w 4071322"/>
                <a:gd name="connsiteY75" fmla="*/ 2542750 h 2983459"/>
                <a:gd name="connsiteX76" fmla="*/ 1110555 w 4071322"/>
                <a:gd name="connsiteY76" fmla="*/ 2340609 h 2983459"/>
                <a:gd name="connsiteX77" fmla="*/ 1107770 w 4071322"/>
                <a:gd name="connsiteY77" fmla="*/ 2264619 h 2983459"/>
                <a:gd name="connsiteX78" fmla="*/ 1129027 w 4071322"/>
                <a:gd name="connsiteY78" fmla="*/ 2289370 h 2983459"/>
                <a:gd name="connsiteX79" fmla="*/ 1655812 w 4071322"/>
                <a:gd name="connsiteY79" fmla="*/ 2259902 h 2983459"/>
                <a:gd name="connsiteX80" fmla="*/ 1667747 w 4071322"/>
                <a:gd name="connsiteY80" fmla="*/ 2443694 h 2983459"/>
                <a:gd name="connsiteX81" fmla="*/ 1439798 w 4071322"/>
                <a:gd name="connsiteY81" fmla="*/ 2613164 h 2983459"/>
                <a:gd name="connsiteX82" fmla="*/ 1692809 w 4071322"/>
                <a:gd name="connsiteY82" fmla="*/ 2919882 h 2983459"/>
                <a:gd name="connsiteX83" fmla="*/ 2161837 w 4071322"/>
                <a:gd name="connsiteY83" fmla="*/ 2548718 h 2983459"/>
                <a:gd name="connsiteX84" fmla="*/ 2417236 w 4071322"/>
                <a:gd name="connsiteY84" fmla="*/ 1988988 h 2983459"/>
                <a:gd name="connsiteX85" fmla="*/ 2191609 w 4071322"/>
                <a:gd name="connsiteY85" fmla="*/ 1744629 h 2983459"/>
                <a:gd name="connsiteX86" fmla="*/ 2189012 w 4071322"/>
                <a:gd name="connsiteY86" fmla="*/ 1737830 h 2983459"/>
                <a:gd name="connsiteX87" fmla="*/ 2224047 w 4071322"/>
                <a:gd name="connsiteY87" fmla="*/ 1759883 h 2983459"/>
                <a:gd name="connsiteX88" fmla="*/ 2480489 w 4071322"/>
                <a:gd name="connsiteY88" fmla="*/ 1901867 h 2983459"/>
                <a:gd name="connsiteX89" fmla="*/ 2765724 w 4071322"/>
                <a:gd name="connsiteY89" fmla="*/ 2095206 h 2983459"/>
                <a:gd name="connsiteX90" fmla="*/ 3046186 w 4071322"/>
                <a:gd name="connsiteY90" fmla="*/ 1849354 h 2983459"/>
                <a:gd name="connsiteX91" fmla="*/ 3002028 w 4071322"/>
                <a:gd name="connsiteY91" fmla="*/ 1845774 h 2983459"/>
                <a:gd name="connsiteX92" fmla="*/ 2630164 w 4071322"/>
                <a:gd name="connsiteY92" fmla="*/ 1549438 h 2983459"/>
                <a:gd name="connsiteX93" fmla="*/ 2642532 w 4071322"/>
                <a:gd name="connsiteY93" fmla="*/ 1485537 h 2983459"/>
                <a:gd name="connsiteX94" fmla="*/ 2665978 w 4071322"/>
                <a:gd name="connsiteY94" fmla="*/ 1511089 h 2983459"/>
                <a:gd name="connsiteX95" fmla="*/ 3626205 w 4071322"/>
                <a:gd name="connsiteY95" fmla="*/ 1753877 h 2983459"/>
                <a:gd name="connsiteX96" fmla="*/ 3784934 w 4071322"/>
                <a:gd name="connsiteY96" fmla="*/ 186873 h 2983459"/>
                <a:gd name="connsiteX97" fmla="*/ 3660815 w 4071322"/>
                <a:gd name="connsiteY97" fmla="*/ 330088 h 2983459"/>
                <a:gd name="connsiteX98" fmla="*/ 3479411 w 4071322"/>
                <a:gd name="connsiteY98" fmla="*/ 421983 h 2983459"/>
                <a:gd name="connsiteX99" fmla="*/ 3365986 w 4071322"/>
                <a:gd name="connsiteY99" fmla="*/ 1235418 h 2983459"/>
                <a:gd name="connsiteX100" fmla="*/ 3346179 w 4071322"/>
                <a:gd name="connsiteY100" fmla="*/ 1251046 h 2983459"/>
                <a:gd name="connsiteX101" fmla="*/ 3350349 w 4071322"/>
                <a:gd name="connsiteY101" fmla="*/ 1243005 h 2983459"/>
                <a:gd name="connsiteX102" fmla="*/ 3393480 w 4071322"/>
                <a:gd name="connsiteY102" fmla="*/ 987681 h 2983459"/>
                <a:gd name="connsiteX103" fmla="*/ 3225204 w 4071322"/>
                <a:gd name="connsiteY103" fmla="*/ 1019904 h 2983459"/>
                <a:gd name="connsiteX104" fmla="*/ 3243105 w 4071322"/>
                <a:gd name="connsiteY104" fmla="*/ 880270 h 2983459"/>
                <a:gd name="connsiteX105" fmla="*/ 3085570 w 4071322"/>
                <a:gd name="connsiteY105" fmla="*/ 879076 h 2983459"/>
                <a:gd name="connsiteX106" fmla="*/ 3130921 w 4071322"/>
                <a:gd name="connsiteY106" fmla="*/ 775246 h 2983459"/>
                <a:gd name="connsiteX107" fmla="*/ 3039846 w 4071322"/>
                <a:gd name="connsiteY107" fmla="*/ 733176 h 2983459"/>
                <a:gd name="connsiteX108" fmla="*/ 3014605 w 4071322"/>
                <a:gd name="connsiteY108" fmla="*/ 733348 h 2983459"/>
                <a:gd name="connsiteX109" fmla="*/ 3035360 w 4071322"/>
                <a:gd name="connsiteY109" fmla="*/ 725896 h 2983459"/>
                <a:gd name="connsiteX110" fmla="*/ 3066475 w 4071322"/>
                <a:gd name="connsiteY110" fmla="*/ 716766 h 2983459"/>
                <a:gd name="connsiteX111" fmla="*/ 3216850 w 4071322"/>
                <a:gd name="connsiteY111" fmla="*/ 682156 h 2983459"/>
                <a:gd name="connsiteX112" fmla="*/ 3064088 w 4071322"/>
                <a:gd name="connsiteY112" fmla="*/ 487623 h 2983459"/>
                <a:gd name="connsiteX113" fmla="*/ 2904873 w 4071322"/>
                <a:gd name="connsiteY113" fmla="*/ 468100 h 2983459"/>
                <a:gd name="connsiteX114" fmla="*/ 2890171 w 4071322"/>
                <a:gd name="connsiteY114" fmla="*/ 467317 h 2983459"/>
                <a:gd name="connsiteX115" fmla="*/ 2890291 w 4071322"/>
                <a:gd name="connsiteY115" fmla="*/ 467001 h 2983459"/>
                <a:gd name="connsiteX116" fmla="*/ 2993674 w 4071322"/>
                <a:gd name="connsiteY116" fmla="*/ 435113 h 2983459"/>
                <a:gd name="connsiteX117" fmla="*/ 2426783 w 4071322"/>
                <a:gd name="connsiteY117" fmla="*/ 87819 h 2983459"/>
                <a:gd name="connsiteX118" fmla="*/ 2403131 w 4071322"/>
                <a:gd name="connsiteY118" fmla="*/ 615 h 2983459"/>
                <a:gd name="connsiteX119" fmla="*/ 2481583 w 4071322"/>
                <a:gd name="connsiteY119" fmla="*/ 7487 h 2983459"/>
                <a:gd name="connsiteX120" fmla="*/ 3056718 w 4071322"/>
                <a:gd name="connsiteY120" fmla="*/ 398450 h 2983459"/>
                <a:gd name="connsiteX121" fmla="*/ 3295819 w 4071322"/>
                <a:gd name="connsiteY121" fmla="*/ 679556 h 2983459"/>
                <a:gd name="connsiteX122" fmla="*/ 3253815 w 4071322"/>
                <a:gd name="connsiteY122" fmla="*/ 782951 h 2983459"/>
                <a:gd name="connsiteX123" fmla="*/ 3428093 w 4071322"/>
                <a:gd name="connsiteY123" fmla="*/ 917242 h 2983459"/>
                <a:gd name="connsiteX124" fmla="*/ 3405676 w 4071322"/>
                <a:gd name="connsiteY124" fmla="*/ 421070 h 2983459"/>
                <a:gd name="connsiteX125" fmla="*/ 3609234 w 4071322"/>
                <a:gd name="connsiteY125" fmla="*/ 291826 h 2983459"/>
                <a:gd name="connsiteX126" fmla="*/ 3767559 w 4071322"/>
                <a:gd name="connsiteY126" fmla="*/ 143197 h 2983459"/>
                <a:gd name="connsiteX127" fmla="*/ 4071281 w 4071322"/>
                <a:gd name="connsiteY127" fmla="*/ 973587 h 2983459"/>
                <a:gd name="connsiteX128" fmla="*/ 3570462 w 4071322"/>
                <a:gd name="connsiteY128" fmla="*/ 1881525 h 2983459"/>
                <a:gd name="connsiteX129" fmla="*/ 3144828 w 4071322"/>
                <a:gd name="connsiteY129" fmla="*/ 1891067 h 2983459"/>
                <a:gd name="connsiteX130" fmla="*/ 3091586 w 4071322"/>
                <a:gd name="connsiteY130" fmla="*/ 1872530 h 2983459"/>
                <a:gd name="connsiteX131" fmla="*/ 3085196 w 4071322"/>
                <a:gd name="connsiteY131" fmla="*/ 1902782 h 2983459"/>
                <a:gd name="connsiteX132" fmla="*/ 2756223 w 4071322"/>
                <a:gd name="connsiteY132" fmla="*/ 2169092 h 2983459"/>
                <a:gd name="connsiteX133" fmla="*/ 2468656 w 4071322"/>
                <a:gd name="connsiteY133" fmla="*/ 2039848 h 2983459"/>
                <a:gd name="connsiteX134" fmla="*/ 2455731 w 4071322"/>
                <a:gd name="connsiteY134" fmla="*/ 2207865 h 2983459"/>
                <a:gd name="connsiteX135" fmla="*/ 2584975 w 4071322"/>
                <a:gd name="connsiteY135" fmla="*/ 2482507 h 2983459"/>
                <a:gd name="connsiteX136" fmla="*/ 2578513 w 4071322"/>
                <a:gd name="connsiteY136" fmla="*/ 2631138 h 2983459"/>
                <a:gd name="connsiteX137" fmla="*/ 2607593 w 4071322"/>
                <a:gd name="connsiteY137" fmla="*/ 2815310 h 2983459"/>
                <a:gd name="connsiteX138" fmla="*/ 2394341 w 4071322"/>
                <a:gd name="connsiteY138" fmla="*/ 2892857 h 2983459"/>
                <a:gd name="connsiteX139" fmla="*/ 2061537 w 4071322"/>
                <a:gd name="connsiteY139" fmla="*/ 2821772 h 2983459"/>
                <a:gd name="connsiteX140" fmla="*/ 2051380 w 4071322"/>
                <a:gd name="connsiteY140" fmla="*/ 2762177 h 2983459"/>
                <a:gd name="connsiteX141" fmla="*/ 2050847 w 4071322"/>
                <a:gd name="connsiteY141" fmla="*/ 2744183 h 2983459"/>
                <a:gd name="connsiteX142" fmla="*/ 2000816 w 4071322"/>
                <a:gd name="connsiteY142" fmla="*/ 2791607 h 2983459"/>
                <a:gd name="connsiteX143" fmla="*/ 1686732 w 4071322"/>
                <a:gd name="connsiteY143" fmla="*/ 2983326 h 2983459"/>
                <a:gd name="connsiteX144" fmla="*/ 1373315 w 4071322"/>
                <a:gd name="connsiteY144" fmla="*/ 2605289 h 2983459"/>
                <a:gd name="connsiteX145" fmla="*/ 1518714 w 4071322"/>
                <a:gd name="connsiteY145" fmla="*/ 2446965 h 2983459"/>
                <a:gd name="connsiteX146" fmla="*/ 1185912 w 4071322"/>
                <a:gd name="connsiteY146" fmla="*/ 2414653 h 2983459"/>
                <a:gd name="connsiteX147" fmla="*/ 1172987 w 4071322"/>
                <a:gd name="connsiteY147" fmla="*/ 2560053 h 2983459"/>
                <a:gd name="connsiteX148" fmla="*/ 1088978 w 4071322"/>
                <a:gd name="connsiteY148" fmla="*/ 2702221 h 2983459"/>
                <a:gd name="connsiteX149" fmla="*/ 1021125 w 4071322"/>
                <a:gd name="connsiteY149" fmla="*/ 2957478 h 2983459"/>
                <a:gd name="connsiteX150" fmla="*/ 484764 w 4071322"/>
                <a:gd name="connsiteY150" fmla="*/ 2844389 h 2983459"/>
                <a:gd name="connsiteX151" fmla="*/ 497689 w 4071322"/>
                <a:gd name="connsiteY151" fmla="*/ 2656986 h 2983459"/>
                <a:gd name="connsiteX152" fmla="*/ 368445 w 4071322"/>
                <a:gd name="connsiteY152" fmla="*/ 2682835 h 2983459"/>
                <a:gd name="connsiteX153" fmla="*/ 32411 w 4071322"/>
                <a:gd name="connsiteY153" fmla="*/ 2337107 h 2983459"/>
                <a:gd name="connsiteX154" fmla="*/ 235970 w 4071322"/>
                <a:gd name="connsiteY154" fmla="*/ 1981687 h 2983459"/>
                <a:gd name="connsiteX155" fmla="*/ 255356 w 4071322"/>
                <a:gd name="connsiteY155" fmla="*/ 1626266 h 2983459"/>
                <a:gd name="connsiteX156" fmla="*/ 277973 w 4071322"/>
                <a:gd name="connsiteY156" fmla="*/ 931582 h 2983459"/>
                <a:gd name="connsiteX157" fmla="*/ 268281 w 4071322"/>
                <a:gd name="connsiteY157" fmla="*/ 1244997 h 2983459"/>
                <a:gd name="connsiteX158" fmla="*/ 1282845 w 4071322"/>
                <a:gd name="connsiteY158" fmla="*/ 602009 h 2983459"/>
                <a:gd name="connsiteX159" fmla="*/ 1583337 w 4071322"/>
                <a:gd name="connsiteY159" fmla="*/ 382295 h 2983459"/>
                <a:gd name="connsiteX160" fmla="*/ 1663554 w 4071322"/>
                <a:gd name="connsiteY160" fmla="*/ 373882 h 2983459"/>
                <a:gd name="connsiteX161" fmla="*/ 1672850 w 4071322"/>
                <a:gd name="connsiteY161" fmla="*/ 353995 h 2983459"/>
                <a:gd name="connsiteX162" fmla="*/ 1929066 w 4071322"/>
                <a:gd name="connsiteY162" fmla="*/ 107652 h 2983459"/>
                <a:gd name="connsiteX163" fmla="*/ 2403131 w 4071322"/>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05136 w 4041320"/>
                <a:gd name="connsiteY0" fmla="*/ 2267062 h 2983459"/>
                <a:gd name="connsiteX1" fmla="*/ 2094838 w 4041320"/>
                <a:gd name="connsiteY1" fmla="*/ 2792182 h 2983459"/>
                <a:gd name="connsiteX2" fmla="*/ 2314433 w 4041320"/>
                <a:gd name="connsiteY2" fmla="*/ 2837533 h 2983459"/>
                <a:gd name="connsiteX3" fmla="*/ 2534029 w 4041320"/>
                <a:gd name="connsiteY3" fmla="*/ 2789795 h 2983459"/>
                <a:gd name="connsiteX4" fmla="*/ 2494645 w 4041320"/>
                <a:gd name="connsiteY4" fmla="*/ 2663289 h 2983459"/>
                <a:gd name="connsiteX5" fmla="*/ 2507773 w 4041320"/>
                <a:gd name="connsiteY5" fmla="*/ 2486659 h 2983459"/>
                <a:gd name="connsiteX6" fmla="*/ 2405136 w 4041320"/>
                <a:gd name="connsiteY6" fmla="*/ 2267062 h 2983459"/>
                <a:gd name="connsiteX7" fmla="*/ 264080 w 4041320"/>
                <a:gd name="connsiteY7" fmla="*/ 2047468 h 2983459"/>
                <a:gd name="connsiteX8" fmla="*/ 81483 w 4041320"/>
                <a:gd name="connsiteY8" fmla="*/ 2318382 h 2983459"/>
                <a:gd name="connsiteX9" fmla="*/ 369104 w 4041320"/>
                <a:gd name="connsiteY9" fmla="*/ 2607197 h 2983459"/>
                <a:gd name="connsiteX10" fmla="*/ 488450 w 4041320"/>
                <a:gd name="connsiteY10" fmla="*/ 2510528 h 2983459"/>
                <a:gd name="connsiteX11" fmla="*/ 264080 w 4041320"/>
                <a:gd name="connsiteY11" fmla="*/ 2047468 h 2983459"/>
                <a:gd name="connsiteX12" fmla="*/ 2746464 w 4041320"/>
                <a:gd name="connsiteY12" fmla="*/ 769874 h 2983459"/>
                <a:gd name="connsiteX13" fmla="*/ 2693057 w 4041320"/>
                <a:gd name="connsiteY13" fmla="*/ 808065 h 2983459"/>
                <a:gd name="connsiteX14" fmla="*/ 2785676 w 4041320"/>
                <a:gd name="connsiteY14" fmla="*/ 920071 h 2983459"/>
                <a:gd name="connsiteX15" fmla="*/ 2877744 w 4041320"/>
                <a:gd name="connsiteY15" fmla="*/ 896977 h 2983459"/>
                <a:gd name="connsiteX16" fmla="*/ 2526869 w 4041320"/>
                <a:gd name="connsiteY16" fmla="*/ 1153571 h 2983459"/>
                <a:gd name="connsiteX17" fmla="*/ 2593986 w 4041320"/>
                <a:gd name="connsiteY17" fmla="*/ 1051580 h 2983459"/>
                <a:gd name="connsiteX18" fmla="*/ 2489870 w 4041320"/>
                <a:gd name="connsiteY18" fmla="*/ 958442 h 2983459"/>
                <a:gd name="connsiteX19" fmla="*/ 2425425 w 4041320"/>
                <a:gd name="connsiteY19" fmla="*/ 1012743 h 2983459"/>
                <a:gd name="connsiteX20" fmla="*/ 2746464 w 4041320"/>
                <a:gd name="connsiteY20" fmla="*/ 769874 h 2983459"/>
                <a:gd name="connsiteX21" fmla="*/ 2390977 w 4041320"/>
                <a:gd name="connsiteY21" fmla="*/ 550290 h 2983459"/>
                <a:gd name="connsiteX22" fmla="*/ 2421546 w 4041320"/>
                <a:gd name="connsiteY22" fmla="*/ 550782 h 2983459"/>
                <a:gd name="connsiteX23" fmla="*/ 2530449 w 4041320"/>
                <a:gd name="connsiteY23" fmla="*/ 567584 h 2983459"/>
                <a:gd name="connsiteX24" fmla="*/ 2277436 w 4041320"/>
                <a:gd name="connsiteY24" fmla="*/ 820596 h 2983459"/>
                <a:gd name="connsiteX25" fmla="*/ 2390977 w 4041320"/>
                <a:gd name="connsiteY25" fmla="*/ 550290 h 2983459"/>
                <a:gd name="connsiteX26" fmla="*/ 3763794 w 4041320"/>
                <a:gd name="connsiteY26" fmla="*/ 254893 h 2983459"/>
                <a:gd name="connsiteX27" fmla="*/ 3654111 w 4041320"/>
                <a:gd name="connsiteY27" fmla="*/ 441155 h 2983459"/>
                <a:gd name="connsiteX28" fmla="*/ 3491199 w 4041320"/>
                <a:gd name="connsiteY28" fmla="*/ 467805 h 2983459"/>
                <a:gd name="connsiteX29" fmla="*/ 3640268 w 4041320"/>
                <a:gd name="connsiteY29" fmla="*/ 379108 h 2983459"/>
                <a:gd name="connsiteX30" fmla="*/ 3763794 w 4041320"/>
                <a:gd name="connsiteY30" fmla="*/ 254893 h 2983459"/>
                <a:gd name="connsiteX31" fmla="*/ 2396781 w 4041320"/>
                <a:gd name="connsiteY31" fmla="*/ 87819 h 2983459"/>
                <a:gd name="connsiteX32" fmla="*/ 1726061 w 4041320"/>
                <a:gd name="connsiteY32" fmla="*/ 401696 h 2983459"/>
                <a:gd name="connsiteX33" fmla="*/ 1915205 w 4041320"/>
                <a:gd name="connsiteY33" fmla="*/ 406041 h 2983459"/>
                <a:gd name="connsiteX34" fmla="*/ 1922877 w 4041320"/>
                <a:gd name="connsiteY34" fmla="*/ 407143 h 2983459"/>
                <a:gd name="connsiteX35" fmla="*/ 1890847 w 4041320"/>
                <a:gd name="connsiteY35" fmla="*/ 415856 h 2983459"/>
                <a:gd name="connsiteX36" fmla="*/ 1563936 w 4041320"/>
                <a:gd name="connsiteY36" fmla="*/ 483859 h 2983459"/>
                <a:gd name="connsiteX37" fmla="*/ 946278 w 4041320"/>
                <a:gd name="connsiteY37" fmla="*/ 1285034 h 2983459"/>
                <a:gd name="connsiteX38" fmla="*/ 1132089 w 4041320"/>
                <a:gd name="connsiteY38" fmla="*/ 1578898 h 2983459"/>
                <a:gd name="connsiteX39" fmla="*/ 1324877 w 4041320"/>
                <a:gd name="connsiteY39" fmla="*/ 1359120 h 2983459"/>
                <a:gd name="connsiteX40" fmla="*/ 1099315 w 4041320"/>
                <a:gd name="connsiteY40" fmla="*/ 1825668 h 2983459"/>
                <a:gd name="connsiteX41" fmla="*/ 1311015 w 4041320"/>
                <a:gd name="connsiteY41" fmla="*/ 1950338 h 2983459"/>
                <a:gd name="connsiteX42" fmla="*/ 1671897 w 4041320"/>
                <a:gd name="connsiteY42" fmla="*/ 1771687 h 2983459"/>
                <a:gd name="connsiteX43" fmla="*/ 1903243 w 4041320"/>
                <a:gd name="connsiteY43" fmla="*/ 1748552 h 2983459"/>
                <a:gd name="connsiteX44" fmla="*/ 1986142 w 4041320"/>
                <a:gd name="connsiteY44" fmla="*/ 830879 h 2983459"/>
                <a:gd name="connsiteX45" fmla="*/ 1995782 w 4041320"/>
                <a:gd name="connsiteY45" fmla="*/ 1866154 h 2983459"/>
                <a:gd name="connsiteX46" fmla="*/ 1967770 w 4041320"/>
                <a:gd name="connsiteY46" fmla="*/ 1861564 h 2983459"/>
                <a:gd name="connsiteX47" fmla="*/ 1932301 w 4041320"/>
                <a:gd name="connsiteY47" fmla="*/ 1852495 h 2983459"/>
                <a:gd name="connsiteX48" fmla="*/ 1895971 w 4041320"/>
                <a:gd name="connsiteY48" fmla="*/ 1846824 h 2983459"/>
                <a:gd name="connsiteX49" fmla="*/ 1885789 w 4041320"/>
                <a:gd name="connsiteY49" fmla="*/ 1844465 h 2983459"/>
                <a:gd name="connsiteX50" fmla="*/ 1795805 w 4041320"/>
                <a:gd name="connsiteY50" fmla="*/ 1841415 h 2983459"/>
                <a:gd name="connsiteX51" fmla="*/ 1782701 w 4041320"/>
                <a:gd name="connsiteY51" fmla="*/ 1844470 h 2983459"/>
                <a:gd name="connsiteX52" fmla="*/ 1774788 w 4041320"/>
                <a:gd name="connsiteY52" fmla="*/ 1845158 h 2983459"/>
                <a:gd name="connsiteX53" fmla="*/ 1253453 w 4041320"/>
                <a:gd name="connsiteY53" fmla="*/ 2057015 h 2983459"/>
                <a:gd name="connsiteX54" fmla="*/ 956554 w 4041320"/>
                <a:gd name="connsiteY54" fmla="*/ 1821531 h 2983459"/>
                <a:gd name="connsiteX55" fmla="*/ 950470 w 4041320"/>
                <a:gd name="connsiteY55" fmla="*/ 1813649 h 2983459"/>
                <a:gd name="connsiteX56" fmla="*/ 973356 w 4041320"/>
                <a:gd name="connsiteY56" fmla="*/ 1775406 h 2983459"/>
                <a:gd name="connsiteX57" fmla="*/ 1054147 w 4041320"/>
                <a:gd name="connsiteY57" fmla="*/ 1658401 h 2983459"/>
                <a:gd name="connsiteX58" fmla="*/ 827390 w 4041320"/>
                <a:gd name="connsiteY58" fmla="*/ 1299172 h 2983459"/>
                <a:gd name="connsiteX59" fmla="*/ 1229584 w 4041320"/>
                <a:gd name="connsiteY59" fmla="*/ 685736 h 2983459"/>
                <a:gd name="connsiteX60" fmla="*/ 165668 w 4041320"/>
                <a:gd name="connsiteY60" fmla="*/ 1315433 h 2983459"/>
                <a:gd name="connsiteX61" fmla="*/ 117496 w 4041320"/>
                <a:gd name="connsiteY61" fmla="*/ 1272061 h 2983459"/>
                <a:gd name="connsiteX62" fmla="*/ 131580 w 4041320"/>
                <a:gd name="connsiteY62" fmla="*/ 1264158 h 2983459"/>
                <a:gd name="connsiteX63" fmla="*/ 184119 w 4041320"/>
                <a:gd name="connsiteY63" fmla="*/ 999615 h 2983459"/>
                <a:gd name="connsiteX64" fmla="*/ 48266 w 4041320"/>
                <a:gd name="connsiteY64" fmla="*/ 1270717 h 2983459"/>
                <a:gd name="connsiteX65" fmla="*/ 59280 w 4041320"/>
                <a:gd name="connsiteY65" fmla="*/ 1276004 h 2983459"/>
                <a:gd name="connsiteX66" fmla="*/ 60915 w 4041320"/>
                <a:gd name="connsiteY66" fmla="*/ 1291713 h 2983459"/>
                <a:gd name="connsiteX67" fmla="*/ 322560 w 4041320"/>
                <a:gd name="connsiteY67" fmla="*/ 1476996 h 2983459"/>
                <a:gd name="connsiteX68" fmla="*/ 566381 w 4041320"/>
                <a:gd name="connsiteY68" fmla="*/ 2422013 h 2983459"/>
                <a:gd name="connsiteX69" fmla="*/ 579252 w 4041320"/>
                <a:gd name="connsiteY69" fmla="*/ 2446757 h 2983459"/>
                <a:gd name="connsiteX70" fmla="*/ 578799 w 4041320"/>
                <a:gd name="connsiteY70" fmla="*/ 2458370 h 2983459"/>
                <a:gd name="connsiteX71" fmla="*/ 560058 w 4041320"/>
                <a:gd name="connsiteY71" fmla="*/ 2638226 h 2983459"/>
                <a:gd name="connsiteX72" fmla="*/ 515900 w 4041320"/>
                <a:gd name="connsiteY72" fmla="*/ 2789795 h 2983459"/>
                <a:gd name="connsiteX73" fmla="*/ 972992 w 4041320"/>
                <a:gd name="connsiteY73" fmla="*/ 2878111 h 2983459"/>
                <a:gd name="connsiteX74" fmla="*/ 988508 w 4041320"/>
                <a:gd name="connsiteY74" fmla="*/ 2732510 h 2983459"/>
                <a:gd name="connsiteX75" fmla="*/ 1076823 w 4041320"/>
                <a:gd name="connsiteY75" fmla="*/ 2542750 h 2983459"/>
                <a:gd name="connsiteX76" fmla="*/ 1080553 w 4041320"/>
                <a:gd name="connsiteY76" fmla="*/ 2340609 h 2983459"/>
                <a:gd name="connsiteX77" fmla="*/ 1077768 w 4041320"/>
                <a:gd name="connsiteY77" fmla="*/ 2264619 h 2983459"/>
                <a:gd name="connsiteX78" fmla="*/ 1099025 w 4041320"/>
                <a:gd name="connsiteY78" fmla="*/ 2289370 h 2983459"/>
                <a:gd name="connsiteX79" fmla="*/ 1625810 w 4041320"/>
                <a:gd name="connsiteY79" fmla="*/ 2259902 h 2983459"/>
                <a:gd name="connsiteX80" fmla="*/ 1637745 w 4041320"/>
                <a:gd name="connsiteY80" fmla="*/ 2443694 h 2983459"/>
                <a:gd name="connsiteX81" fmla="*/ 1409796 w 4041320"/>
                <a:gd name="connsiteY81" fmla="*/ 2613164 h 2983459"/>
                <a:gd name="connsiteX82" fmla="*/ 1662807 w 4041320"/>
                <a:gd name="connsiteY82" fmla="*/ 2919882 h 2983459"/>
                <a:gd name="connsiteX83" fmla="*/ 2131835 w 4041320"/>
                <a:gd name="connsiteY83" fmla="*/ 2548718 h 2983459"/>
                <a:gd name="connsiteX84" fmla="*/ 2387234 w 4041320"/>
                <a:gd name="connsiteY84" fmla="*/ 1988988 h 2983459"/>
                <a:gd name="connsiteX85" fmla="*/ 2161607 w 4041320"/>
                <a:gd name="connsiteY85" fmla="*/ 1744629 h 2983459"/>
                <a:gd name="connsiteX86" fmla="*/ 2159010 w 4041320"/>
                <a:gd name="connsiteY86" fmla="*/ 1737830 h 2983459"/>
                <a:gd name="connsiteX87" fmla="*/ 2194045 w 4041320"/>
                <a:gd name="connsiteY87" fmla="*/ 1759883 h 2983459"/>
                <a:gd name="connsiteX88" fmla="*/ 2450487 w 4041320"/>
                <a:gd name="connsiteY88" fmla="*/ 1901867 h 2983459"/>
                <a:gd name="connsiteX89" fmla="*/ 2735722 w 4041320"/>
                <a:gd name="connsiteY89" fmla="*/ 2095206 h 2983459"/>
                <a:gd name="connsiteX90" fmla="*/ 3016184 w 4041320"/>
                <a:gd name="connsiteY90" fmla="*/ 1849354 h 2983459"/>
                <a:gd name="connsiteX91" fmla="*/ 2972026 w 4041320"/>
                <a:gd name="connsiteY91" fmla="*/ 1845774 h 2983459"/>
                <a:gd name="connsiteX92" fmla="*/ 2600162 w 4041320"/>
                <a:gd name="connsiteY92" fmla="*/ 1549438 h 2983459"/>
                <a:gd name="connsiteX93" fmla="*/ 2612530 w 4041320"/>
                <a:gd name="connsiteY93" fmla="*/ 1485537 h 2983459"/>
                <a:gd name="connsiteX94" fmla="*/ 2635976 w 4041320"/>
                <a:gd name="connsiteY94" fmla="*/ 1511089 h 2983459"/>
                <a:gd name="connsiteX95" fmla="*/ 3596203 w 4041320"/>
                <a:gd name="connsiteY95" fmla="*/ 1753877 h 2983459"/>
                <a:gd name="connsiteX96" fmla="*/ 3754932 w 4041320"/>
                <a:gd name="connsiteY96" fmla="*/ 186873 h 2983459"/>
                <a:gd name="connsiteX97" fmla="*/ 3630813 w 4041320"/>
                <a:gd name="connsiteY97" fmla="*/ 330088 h 2983459"/>
                <a:gd name="connsiteX98" fmla="*/ 3449409 w 4041320"/>
                <a:gd name="connsiteY98" fmla="*/ 421983 h 2983459"/>
                <a:gd name="connsiteX99" fmla="*/ 3335984 w 4041320"/>
                <a:gd name="connsiteY99" fmla="*/ 1235418 h 2983459"/>
                <a:gd name="connsiteX100" fmla="*/ 3316177 w 4041320"/>
                <a:gd name="connsiteY100" fmla="*/ 1251046 h 2983459"/>
                <a:gd name="connsiteX101" fmla="*/ 3320347 w 4041320"/>
                <a:gd name="connsiteY101" fmla="*/ 1243005 h 2983459"/>
                <a:gd name="connsiteX102" fmla="*/ 3363478 w 4041320"/>
                <a:gd name="connsiteY102" fmla="*/ 987681 h 2983459"/>
                <a:gd name="connsiteX103" fmla="*/ 3195202 w 4041320"/>
                <a:gd name="connsiteY103" fmla="*/ 1019904 h 2983459"/>
                <a:gd name="connsiteX104" fmla="*/ 3213103 w 4041320"/>
                <a:gd name="connsiteY104" fmla="*/ 880270 h 2983459"/>
                <a:gd name="connsiteX105" fmla="*/ 3055568 w 4041320"/>
                <a:gd name="connsiteY105" fmla="*/ 879076 h 2983459"/>
                <a:gd name="connsiteX106" fmla="*/ 3100919 w 4041320"/>
                <a:gd name="connsiteY106" fmla="*/ 775246 h 2983459"/>
                <a:gd name="connsiteX107" fmla="*/ 3009844 w 4041320"/>
                <a:gd name="connsiteY107" fmla="*/ 733176 h 2983459"/>
                <a:gd name="connsiteX108" fmla="*/ 2984603 w 4041320"/>
                <a:gd name="connsiteY108" fmla="*/ 733348 h 2983459"/>
                <a:gd name="connsiteX109" fmla="*/ 3005358 w 4041320"/>
                <a:gd name="connsiteY109" fmla="*/ 725896 h 2983459"/>
                <a:gd name="connsiteX110" fmla="*/ 3036473 w 4041320"/>
                <a:gd name="connsiteY110" fmla="*/ 716766 h 2983459"/>
                <a:gd name="connsiteX111" fmla="*/ 3186848 w 4041320"/>
                <a:gd name="connsiteY111" fmla="*/ 682156 h 2983459"/>
                <a:gd name="connsiteX112" fmla="*/ 3034086 w 4041320"/>
                <a:gd name="connsiteY112" fmla="*/ 487623 h 2983459"/>
                <a:gd name="connsiteX113" fmla="*/ 2874871 w 4041320"/>
                <a:gd name="connsiteY113" fmla="*/ 468100 h 2983459"/>
                <a:gd name="connsiteX114" fmla="*/ 2860169 w 4041320"/>
                <a:gd name="connsiteY114" fmla="*/ 467317 h 2983459"/>
                <a:gd name="connsiteX115" fmla="*/ 2860289 w 4041320"/>
                <a:gd name="connsiteY115" fmla="*/ 467001 h 2983459"/>
                <a:gd name="connsiteX116" fmla="*/ 2963672 w 4041320"/>
                <a:gd name="connsiteY116" fmla="*/ 435113 h 2983459"/>
                <a:gd name="connsiteX117" fmla="*/ 2396781 w 4041320"/>
                <a:gd name="connsiteY117" fmla="*/ 87819 h 2983459"/>
                <a:gd name="connsiteX118" fmla="*/ 2373129 w 4041320"/>
                <a:gd name="connsiteY118" fmla="*/ 615 h 2983459"/>
                <a:gd name="connsiteX119" fmla="*/ 2451581 w 4041320"/>
                <a:gd name="connsiteY119" fmla="*/ 7487 h 2983459"/>
                <a:gd name="connsiteX120" fmla="*/ 3026716 w 4041320"/>
                <a:gd name="connsiteY120" fmla="*/ 398450 h 2983459"/>
                <a:gd name="connsiteX121" fmla="*/ 3265817 w 4041320"/>
                <a:gd name="connsiteY121" fmla="*/ 679556 h 2983459"/>
                <a:gd name="connsiteX122" fmla="*/ 3223813 w 4041320"/>
                <a:gd name="connsiteY122" fmla="*/ 782951 h 2983459"/>
                <a:gd name="connsiteX123" fmla="*/ 3398091 w 4041320"/>
                <a:gd name="connsiteY123" fmla="*/ 917242 h 2983459"/>
                <a:gd name="connsiteX124" fmla="*/ 3375674 w 4041320"/>
                <a:gd name="connsiteY124" fmla="*/ 421070 h 2983459"/>
                <a:gd name="connsiteX125" fmla="*/ 3579232 w 4041320"/>
                <a:gd name="connsiteY125" fmla="*/ 291826 h 2983459"/>
                <a:gd name="connsiteX126" fmla="*/ 3737557 w 4041320"/>
                <a:gd name="connsiteY126" fmla="*/ 143197 h 2983459"/>
                <a:gd name="connsiteX127" fmla="*/ 4041279 w 4041320"/>
                <a:gd name="connsiteY127" fmla="*/ 973587 h 2983459"/>
                <a:gd name="connsiteX128" fmla="*/ 3540460 w 4041320"/>
                <a:gd name="connsiteY128" fmla="*/ 1881525 h 2983459"/>
                <a:gd name="connsiteX129" fmla="*/ 3114826 w 4041320"/>
                <a:gd name="connsiteY129" fmla="*/ 1891067 h 2983459"/>
                <a:gd name="connsiteX130" fmla="*/ 3061584 w 4041320"/>
                <a:gd name="connsiteY130" fmla="*/ 1872530 h 2983459"/>
                <a:gd name="connsiteX131" fmla="*/ 3055194 w 4041320"/>
                <a:gd name="connsiteY131" fmla="*/ 1902782 h 2983459"/>
                <a:gd name="connsiteX132" fmla="*/ 2726221 w 4041320"/>
                <a:gd name="connsiteY132" fmla="*/ 2169092 h 2983459"/>
                <a:gd name="connsiteX133" fmla="*/ 2438654 w 4041320"/>
                <a:gd name="connsiteY133" fmla="*/ 2039848 h 2983459"/>
                <a:gd name="connsiteX134" fmla="*/ 2425729 w 4041320"/>
                <a:gd name="connsiteY134" fmla="*/ 2207865 h 2983459"/>
                <a:gd name="connsiteX135" fmla="*/ 2554973 w 4041320"/>
                <a:gd name="connsiteY135" fmla="*/ 2482507 h 2983459"/>
                <a:gd name="connsiteX136" fmla="*/ 2548511 w 4041320"/>
                <a:gd name="connsiteY136" fmla="*/ 2631138 h 2983459"/>
                <a:gd name="connsiteX137" fmla="*/ 2577591 w 4041320"/>
                <a:gd name="connsiteY137" fmla="*/ 2815310 h 2983459"/>
                <a:gd name="connsiteX138" fmla="*/ 2364339 w 4041320"/>
                <a:gd name="connsiteY138" fmla="*/ 2892857 h 2983459"/>
                <a:gd name="connsiteX139" fmla="*/ 2031535 w 4041320"/>
                <a:gd name="connsiteY139" fmla="*/ 2821772 h 2983459"/>
                <a:gd name="connsiteX140" fmla="*/ 2021378 w 4041320"/>
                <a:gd name="connsiteY140" fmla="*/ 2762177 h 2983459"/>
                <a:gd name="connsiteX141" fmla="*/ 2020845 w 4041320"/>
                <a:gd name="connsiteY141" fmla="*/ 2744183 h 2983459"/>
                <a:gd name="connsiteX142" fmla="*/ 1970814 w 4041320"/>
                <a:gd name="connsiteY142" fmla="*/ 2791607 h 2983459"/>
                <a:gd name="connsiteX143" fmla="*/ 1656730 w 4041320"/>
                <a:gd name="connsiteY143" fmla="*/ 2983326 h 2983459"/>
                <a:gd name="connsiteX144" fmla="*/ 1343313 w 4041320"/>
                <a:gd name="connsiteY144" fmla="*/ 2605289 h 2983459"/>
                <a:gd name="connsiteX145" fmla="*/ 1488712 w 4041320"/>
                <a:gd name="connsiteY145" fmla="*/ 2446965 h 2983459"/>
                <a:gd name="connsiteX146" fmla="*/ 1155910 w 4041320"/>
                <a:gd name="connsiteY146" fmla="*/ 2414653 h 2983459"/>
                <a:gd name="connsiteX147" fmla="*/ 1142985 w 4041320"/>
                <a:gd name="connsiteY147" fmla="*/ 2560053 h 2983459"/>
                <a:gd name="connsiteX148" fmla="*/ 1058976 w 4041320"/>
                <a:gd name="connsiteY148" fmla="*/ 2702221 h 2983459"/>
                <a:gd name="connsiteX149" fmla="*/ 991123 w 4041320"/>
                <a:gd name="connsiteY149" fmla="*/ 2957478 h 2983459"/>
                <a:gd name="connsiteX150" fmla="*/ 454762 w 4041320"/>
                <a:gd name="connsiteY150" fmla="*/ 2844389 h 2983459"/>
                <a:gd name="connsiteX151" fmla="*/ 467687 w 4041320"/>
                <a:gd name="connsiteY151" fmla="*/ 2656986 h 2983459"/>
                <a:gd name="connsiteX152" fmla="*/ 338443 w 4041320"/>
                <a:gd name="connsiteY152" fmla="*/ 2682835 h 2983459"/>
                <a:gd name="connsiteX153" fmla="*/ 2409 w 4041320"/>
                <a:gd name="connsiteY153" fmla="*/ 2337107 h 2983459"/>
                <a:gd name="connsiteX154" fmla="*/ 205968 w 4041320"/>
                <a:gd name="connsiteY154" fmla="*/ 1981687 h 2983459"/>
                <a:gd name="connsiteX155" fmla="*/ 225354 w 4041320"/>
                <a:gd name="connsiteY155" fmla="*/ 1626266 h 2983459"/>
                <a:gd name="connsiteX156" fmla="*/ 18564 w 4041320"/>
                <a:gd name="connsiteY156" fmla="*/ 1332238 h 2983459"/>
                <a:gd name="connsiteX157" fmla="*/ 238277 w 4041320"/>
                <a:gd name="connsiteY157" fmla="*/ 928351 h 2983459"/>
                <a:gd name="connsiteX158" fmla="*/ 238279 w 4041320"/>
                <a:gd name="connsiteY158" fmla="*/ 1244997 h 2983459"/>
                <a:gd name="connsiteX159" fmla="*/ 1252843 w 4041320"/>
                <a:gd name="connsiteY159" fmla="*/ 602009 h 2983459"/>
                <a:gd name="connsiteX160" fmla="*/ 1553335 w 4041320"/>
                <a:gd name="connsiteY160" fmla="*/ 382295 h 2983459"/>
                <a:gd name="connsiteX161" fmla="*/ 1633552 w 4041320"/>
                <a:gd name="connsiteY161" fmla="*/ 373882 h 2983459"/>
                <a:gd name="connsiteX162" fmla="*/ 1642848 w 4041320"/>
                <a:gd name="connsiteY162" fmla="*/ 353995 h 2983459"/>
                <a:gd name="connsiteX163" fmla="*/ 1899064 w 4041320"/>
                <a:gd name="connsiteY163" fmla="*/ 107652 h 2983459"/>
                <a:gd name="connsiteX164" fmla="*/ 2373129 w 4041320"/>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060676" h="2983459">
                  <a:moveTo>
                    <a:pt x="2424492" y="2267062"/>
                  </a:moveTo>
                  <a:cubicBezTo>
                    <a:pt x="2364024" y="2506548"/>
                    <a:pt x="2295201" y="2657720"/>
                    <a:pt x="2114194" y="2792182"/>
                  </a:cubicBezTo>
                  <a:cubicBezTo>
                    <a:pt x="2095895" y="2890443"/>
                    <a:pt x="2260591" y="2837931"/>
                    <a:pt x="2333789" y="2837533"/>
                  </a:cubicBezTo>
                  <a:cubicBezTo>
                    <a:pt x="2406988" y="2837135"/>
                    <a:pt x="2533893" y="2856827"/>
                    <a:pt x="2553385" y="2789795"/>
                  </a:cubicBezTo>
                  <a:cubicBezTo>
                    <a:pt x="2566514" y="2743648"/>
                    <a:pt x="2534289" y="2708242"/>
                    <a:pt x="2514001" y="2663289"/>
                  </a:cubicBezTo>
                  <a:cubicBezTo>
                    <a:pt x="2503657" y="2613960"/>
                    <a:pt x="2542046" y="2552696"/>
                    <a:pt x="2527129" y="2486659"/>
                  </a:cubicBezTo>
                  <a:cubicBezTo>
                    <a:pt x="2512211" y="2420621"/>
                    <a:pt x="2468251" y="2316392"/>
                    <a:pt x="2424492" y="2267062"/>
                  </a:cubicBezTo>
                  <a:close/>
                  <a:moveTo>
                    <a:pt x="283436" y="2047468"/>
                  </a:moveTo>
                  <a:cubicBezTo>
                    <a:pt x="218990" y="2121064"/>
                    <a:pt x="100837" y="2261494"/>
                    <a:pt x="100839" y="2318382"/>
                  </a:cubicBezTo>
                  <a:cubicBezTo>
                    <a:pt x="104418" y="2389193"/>
                    <a:pt x="294177" y="2598446"/>
                    <a:pt x="388460" y="2607197"/>
                  </a:cubicBezTo>
                  <a:cubicBezTo>
                    <a:pt x="466432" y="2609185"/>
                    <a:pt x="473991" y="2568212"/>
                    <a:pt x="507806" y="2510528"/>
                  </a:cubicBezTo>
                  <a:cubicBezTo>
                    <a:pt x="399600" y="2357368"/>
                    <a:pt x="354646" y="2279396"/>
                    <a:pt x="283436" y="2047468"/>
                  </a:cubicBezTo>
                  <a:close/>
                  <a:moveTo>
                    <a:pt x="2765820" y="769874"/>
                  </a:moveTo>
                  <a:cubicBezTo>
                    <a:pt x="2765322" y="772163"/>
                    <a:pt x="2727083" y="786383"/>
                    <a:pt x="2712413" y="808065"/>
                  </a:cubicBezTo>
                  <a:cubicBezTo>
                    <a:pt x="2773123" y="828296"/>
                    <a:pt x="2794445" y="847331"/>
                    <a:pt x="2805032" y="920071"/>
                  </a:cubicBezTo>
                  <a:cubicBezTo>
                    <a:pt x="2807890" y="919524"/>
                    <a:pt x="2827881" y="903392"/>
                    <a:pt x="2897100" y="896977"/>
                  </a:cubicBezTo>
                  <a:cubicBezTo>
                    <a:pt x="2739962" y="959832"/>
                    <a:pt x="2660397" y="1027463"/>
                    <a:pt x="2546225" y="1153571"/>
                  </a:cubicBezTo>
                  <a:cubicBezTo>
                    <a:pt x="2582327" y="1082560"/>
                    <a:pt x="2613096" y="1052462"/>
                    <a:pt x="2613342" y="1051580"/>
                  </a:cubicBezTo>
                  <a:cubicBezTo>
                    <a:pt x="2553575" y="1031274"/>
                    <a:pt x="2536771" y="1026484"/>
                    <a:pt x="2509226" y="958442"/>
                  </a:cubicBezTo>
                  <a:cubicBezTo>
                    <a:pt x="2505597" y="960430"/>
                    <a:pt x="2499580" y="957347"/>
                    <a:pt x="2444781" y="1012743"/>
                  </a:cubicBezTo>
                  <a:cubicBezTo>
                    <a:pt x="2541052" y="823382"/>
                    <a:pt x="2631358" y="811248"/>
                    <a:pt x="2765820" y="769874"/>
                  </a:cubicBezTo>
                  <a:close/>
                  <a:moveTo>
                    <a:pt x="2410333" y="550290"/>
                  </a:moveTo>
                  <a:cubicBezTo>
                    <a:pt x="2419704" y="549547"/>
                    <a:pt x="2429863" y="549815"/>
                    <a:pt x="2440902" y="550782"/>
                  </a:cubicBezTo>
                  <a:cubicBezTo>
                    <a:pt x="2470341" y="553362"/>
                    <a:pt x="2506045" y="560920"/>
                    <a:pt x="2549805" y="567584"/>
                  </a:cubicBezTo>
                  <a:cubicBezTo>
                    <a:pt x="2401021" y="591056"/>
                    <a:pt x="2359648" y="674199"/>
                    <a:pt x="2296792" y="820596"/>
                  </a:cubicBezTo>
                  <a:cubicBezTo>
                    <a:pt x="2317678" y="610175"/>
                    <a:pt x="2344731" y="555489"/>
                    <a:pt x="2410333" y="550290"/>
                  </a:cubicBezTo>
                  <a:close/>
                  <a:moveTo>
                    <a:pt x="3783150" y="254893"/>
                  </a:moveTo>
                  <a:cubicBezTo>
                    <a:pt x="3804523" y="282408"/>
                    <a:pt x="3739486" y="385978"/>
                    <a:pt x="3673467" y="441155"/>
                  </a:cubicBezTo>
                  <a:cubicBezTo>
                    <a:pt x="3607447" y="496332"/>
                    <a:pt x="3510178" y="490678"/>
                    <a:pt x="3510555" y="467805"/>
                  </a:cubicBezTo>
                  <a:cubicBezTo>
                    <a:pt x="3510932" y="444933"/>
                    <a:pt x="3614191" y="414594"/>
                    <a:pt x="3659624" y="379108"/>
                  </a:cubicBezTo>
                  <a:cubicBezTo>
                    <a:pt x="3705056" y="343623"/>
                    <a:pt x="3768044" y="241700"/>
                    <a:pt x="3783150" y="254893"/>
                  </a:cubicBezTo>
                  <a:close/>
                  <a:moveTo>
                    <a:pt x="2416137" y="87819"/>
                  </a:moveTo>
                  <a:cubicBezTo>
                    <a:pt x="2189779" y="94581"/>
                    <a:pt x="1906136" y="152662"/>
                    <a:pt x="1745417" y="401696"/>
                  </a:cubicBezTo>
                  <a:cubicBezTo>
                    <a:pt x="1827566" y="400801"/>
                    <a:pt x="1888681" y="401174"/>
                    <a:pt x="1934561" y="406041"/>
                  </a:cubicBezTo>
                  <a:lnTo>
                    <a:pt x="1942233" y="407143"/>
                  </a:lnTo>
                  <a:lnTo>
                    <a:pt x="1910203" y="415856"/>
                  </a:lnTo>
                  <a:cubicBezTo>
                    <a:pt x="1740012" y="456798"/>
                    <a:pt x="1621448" y="450684"/>
                    <a:pt x="1583292" y="483859"/>
                  </a:cubicBezTo>
                  <a:cubicBezTo>
                    <a:pt x="1503514" y="539676"/>
                    <a:pt x="986932" y="1015589"/>
                    <a:pt x="965634" y="1285034"/>
                  </a:cubicBezTo>
                  <a:cubicBezTo>
                    <a:pt x="1020347" y="1428063"/>
                    <a:pt x="1030631" y="1326988"/>
                    <a:pt x="1151445" y="1578898"/>
                  </a:cubicBezTo>
                  <a:lnTo>
                    <a:pt x="1344233" y="1359120"/>
                  </a:lnTo>
                  <a:lnTo>
                    <a:pt x="1118671" y="1825668"/>
                  </a:lnTo>
                  <a:cubicBezTo>
                    <a:pt x="1174917" y="1907802"/>
                    <a:pt x="1213260" y="1951746"/>
                    <a:pt x="1330371" y="1950338"/>
                  </a:cubicBezTo>
                  <a:cubicBezTo>
                    <a:pt x="1455439" y="1933752"/>
                    <a:pt x="1570959" y="1831237"/>
                    <a:pt x="1691253" y="1771687"/>
                  </a:cubicBezTo>
                  <a:cubicBezTo>
                    <a:pt x="1810140" y="1722205"/>
                    <a:pt x="1845484" y="1756264"/>
                    <a:pt x="1922599" y="1748552"/>
                  </a:cubicBezTo>
                  <a:cubicBezTo>
                    <a:pt x="2085093" y="1307801"/>
                    <a:pt x="1829877" y="1309820"/>
                    <a:pt x="2005498" y="830879"/>
                  </a:cubicBezTo>
                  <a:cubicBezTo>
                    <a:pt x="1943071" y="1217742"/>
                    <a:pt x="2190942" y="1217925"/>
                    <a:pt x="2015138" y="1866154"/>
                  </a:cubicBezTo>
                  <a:lnTo>
                    <a:pt x="1987126" y="1861564"/>
                  </a:lnTo>
                  <a:lnTo>
                    <a:pt x="1951657" y="1852495"/>
                  </a:lnTo>
                  <a:lnTo>
                    <a:pt x="1915327" y="1846824"/>
                  </a:lnTo>
                  <a:lnTo>
                    <a:pt x="1905145" y="1844465"/>
                  </a:lnTo>
                  <a:cubicBezTo>
                    <a:pt x="1877647" y="1839043"/>
                    <a:pt x="1848722" y="1836138"/>
                    <a:pt x="1815161" y="1841415"/>
                  </a:cubicBezTo>
                  <a:lnTo>
                    <a:pt x="1802057" y="1844470"/>
                  </a:lnTo>
                  <a:lnTo>
                    <a:pt x="1794144" y="1845158"/>
                  </a:lnTo>
                  <a:cubicBezTo>
                    <a:pt x="1618687" y="1872477"/>
                    <a:pt x="1554166" y="2027178"/>
                    <a:pt x="1272809" y="2057015"/>
                  </a:cubicBezTo>
                  <a:cubicBezTo>
                    <a:pt x="1188919" y="2040655"/>
                    <a:pt x="1054775" y="1917387"/>
                    <a:pt x="975910" y="1821531"/>
                  </a:cubicBezTo>
                  <a:lnTo>
                    <a:pt x="969826" y="1813649"/>
                  </a:lnTo>
                  <a:lnTo>
                    <a:pt x="992712" y="1775406"/>
                  </a:lnTo>
                  <a:cubicBezTo>
                    <a:pt x="1017162" y="1737318"/>
                    <a:pt x="1043915" y="1698382"/>
                    <a:pt x="1073503" y="1658401"/>
                  </a:cubicBezTo>
                  <a:cubicBezTo>
                    <a:pt x="1021787" y="1519563"/>
                    <a:pt x="885334" y="1471426"/>
                    <a:pt x="846746" y="1299172"/>
                  </a:cubicBezTo>
                  <a:cubicBezTo>
                    <a:pt x="909204" y="1120949"/>
                    <a:pt x="934664" y="1004786"/>
                    <a:pt x="1248940" y="685736"/>
                  </a:cubicBezTo>
                  <a:cubicBezTo>
                    <a:pt x="413523" y="805479"/>
                    <a:pt x="416003" y="1478035"/>
                    <a:pt x="185024" y="1315433"/>
                  </a:cubicBezTo>
                  <a:lnTo>
                    <a:pt x="136852" y="1272061"/>
                  </a:lnTo>
                  <a:lnTo>
                    <a:pt x="150936" y="1264158"/>
                  </a:lnTo>
                  <a:cubicBezTo>
                    <a:pt x="236066" y="1206816"/>
                    <a:pt x="135250" y="1124231"/>
                    <a:pt x="203475" y="999615"/>
                  </a:cubicBezTo>
                  <a:cubicBezTo>
                    <a:pt x="65979" y="1059486"/>
                    <a:pt x="5237" y="1216214"/>
                    <a:pt x="67622" y="1270717"/>
                  </a:cubicBezTo>
                  <a:lnTo>
                    <a:pt x="78636" y="1276004"/>
                  </a:lnTo>
                  <a:lnTo>
                    <a:pt x="80271" y="1291713"/>
                  </a:lnTo>
                  <a:cubicBezTo>
                    <a:pt x="93977" y="1403822"/>
                    <a:pt x="130676" y="1528016"/>
                    <a:pt x="341916" y="1476996"/>
                  </a:cubicBezTo>
                  <a:cubicBezTo>
                    <a:pt x="251063" y="1959101"/>
                    <a:pt x="456263" y="2198152"/>
                    <a:pt x="585737" y="2422013"/>
                  </a:cubicBezTo>
                  <a:lnTo>
                    <a:pt x="598608" y="2446757"/>
                  </a:lnTo>
                  <a:lnTo>
                    <a:pt x="598155" y="2458370"/>
                  </a:lnTo>
                  <a:cubicBezTo>
                    <a:pt x="594258" y="2526714"/>
                    <a:pt x="584486" y="2574078"/>
                    <a:pt x="579414" y="2638226"/>
                  </a:cubicBezTo>
                  <a:cubicBezTo>
                    <a:pt x="564694" y="2688749"/>
                    <a:pt x="528493" y="2683180"/>
                    <a:pt x="535256" y="2789795"/>
                  </a:cubicBezTo>
                  <a:cubicBezTo>
                    <a:pt x="539632" y="2856231"/>
                    <a:pt x="929494" y="2963244"/>
                    <a:pt x="992348" y="2878111"/>
                  </a:cubicBezTo>
                  <a:cubicBezTo>
                    <a:pt x="1010649" y="2848673"/>
                    <a:pt x="1002692" y="2781043"/>
                    <a:pt x="1007864" y="2732510"/>
                  </a:cubicBezTo>
                  <a:cubicBezTo>
                    <a:pt x="1015820" y="2678406"/>
                    <a:pt x="1085836" y="2619529"/>
                    <a:pt x="1096179" y="2542750"/>
                  </a:cubicBezTo>
                  <a:cubicBezTo>
                    <a:pt x="1102942" y="2481686"/>
                    <a:pt x="1102246" y="2412564"/>
                    <a:pt x="1099909" y="2340609"/>
                  </a:cubicBezTo>
                  <a:lnTo>
                    <a:pt x="1097124" y="2264619"/>
                  </a:lnTo>
                  <a:lnTo>
                    <a:pt x="1118381" y="2289370"/>
                  </a:lnTo>
                  <a:cubicBezTo>
                    <a:pt x="1255827" y="2429553"/>
                    <a:pt x="1547353" y="2476763"/>
                    <a:pt x="1645166" y="2259902"/>
                  </a:cubicBezTo>
                  <a:cubicBezTo>
                    <a:pt x="1646360" y="2329520"/>
                    <a:pt x="1669036" y="2356174"/>
                    <a:pt x="1657101" y="2443694"/>
                  </a:cubicBezTo>
                  <a:cubicBezTo>
                    <a:pt x="1622889" y="2498991"/>
                    <a:pt x="1470525" y="2511323"/>
                    <a:pt x="1429152" y="2613164"/>
                  </a:cubicBezTo>
                  <a:cubicBezTo>
                    <a:pt x="1416819" y="2655731"/>
                    <a:pt x="1578732" y="2910732"/>
                    <a:pt x="1682163" y="2919882"/>
                  </a:cubicBezTo>
                  <a:cubicBezTo>
                    <a:pt x="1757352" y="2928633"/>
                    <a:pt x="1896985" y="2781044"/>
                    <a:pt x="2151191" y="2548718"/>
                  </a:cubicBezTo>
                  <a:cubicBezTo>
                    <a:pt x="2190544" y="2512751"/>
                    <a:pt x="2339358" y="2230463"/>
                    <a:pt x="2406590" y="1988988"/>
                  </a:cubicBezTo>
                  <a:cubicBezTo>
                    <a:pt x="2338060" y="1954571"/>
                    <a:pt x="2238748" y="1872582"/>
                    <a:pt x="2180963" y="1744629"/>
                  </a:cubicBezTo>
                  <a:lnTo>
                    <a:pt x="2178366" y="1737830"/>
                  </a:lnTo>
                  <a:lnTo>
                    <a:pt x="2213401" y="1759883"/>
                  </a:lnTo>
                  <a:cubicBezTo>
                    <a:pt x="2301567" y="1818624"/>
                    <a:pt x="2391076" y="1883070"/>
                    <a:pt x="2469843" y="1901867"/>
                  </a:cubicBezTo>
                  <a:cubicBezTo>
                    <a:pt x="2527925" y="1968699"/>
                    <a:pt x="2595554" y="2074917"/>
                    <a:pt x="2755078" y="2095206"/>
                  </a:cubicBezTo>
                  <a:cubicBezTo>
                    <a:pt x="2891132" y="2118279"/>
                    <a:pt x="2987802" y="1989783"/>
                    <a:pt x="3035540" y="1849354"/>
                  </a:cubicBezTo>
                  <a:lnTo>
                    <a:pt x="2991382" y="1845774"/>
                  </a:lnTo>
                  <a:cubicBezTo>
                    <a:pt x="2788496" y="2185908"/>
                    <a:pt x="2574070" y="1875704"/>
                    <a:pt x="2619518" y="1549438"/>
                  </a:cubicBezTo>
                  <a:lnTo>
                    <a:pt x="2631886" y="1485537"/>
                  </a:lnTo>
                  <a:lnTo>
                    <a:pt x="2655332" y="1511089"/>
                  </a:lnTo>
                  <a:cubicBezTo>
                    <a:pt x="3060371" y="1923874"/>
                    <a:pt x="3414538" y="1863526"/>
                    <a:pt x="3615559" y="1753877"/>
                  </a:cubicBezTo>
                  <a:cubicBezTo>
                    <a:pt x="4166139" y="1414539"/>
                    <a:pt x="4004823" y="243417"/>
                    <a:pt x="3774288" y="186873"/>
                  </a:cubicBezTo>
                  <a:cubicBezTo>
                    <a:pt x="3721578" y="173944"/>
                    <a:pt x="3684780" y="309799"/>
                    <a:pt x="3650169" y="330088"/>
                  </a:cubicBezTo>
                  <a:cubicBezTo>
                    <a:pt x="3543952" y="386180"/>
                    <a:pt x="3497407" y="377825"/>
                    <a:pt x="3468765" y="421983"/>
                  </a:cubicBezTo>
                  <a:cubicBezTo>
                    <a:pt x="3412075" y="504779"/>
                    <a:pt x="3620767" y="984072"/>
                    <a:pt x="3355340" y="1235418"/>
                  </a:cubicBezTo>
                  <a:lnTo>
                    <a:pt x="3335533" y="1251046"/>
                  </a:lnTo>
                  <a:lnTo>
                    <a:pt x="3339703" y="1243005"/>
                  </a:lnTo>
                  <a:cubicBezTo>
                    <a:pt x="3389995" y="1145813"/>
                    <a:pt x="3442806" y="1034524"/>
                    <a:pt x="3382834" y="987681"/>
                  </a:cubicBezTo>
                  <a:cubicBezTo>
                    <a:pt x="3312421" y="931589"/>
                    <a:pt x="3268263" y="974553"/>
                    <a:pt x="3214558" y="1019904"/>
                  </a:cubicBezTo>
                  <a:cubicBezTo>
                    <a:pt x="3249168" y="980520"/>
                    <a:pt x="3290939" y="973359"/>
                    <a:pt x="3232459" y="880270"/>
                  </a:cubicBezTo>
                  <a:cubicBezTo>
                    <a:pt x="3185915" y="848842"/>
                    <a:pt x="3160852" y="856799"/>
                    <a:pt x="3074924" y="879076"/>
                  </a:cubicBezTo>
                  <a:cubicBezTo>
                    <a:pt x="3129425" y="838500"/>
                    <a:pt x="3146929" y="854013"/>
                    <a:pt x="3120275" y="775246"/>
                  </a:cubicBezTo>
                  <a:cubicBezTo>
                    <a:pt x="3083875" y="726314"/>
                    <a:pt x="3065600" y="730416"/>
                    <a:pt x="3029200" y="733176"/>
                  </a:cubicBezTo>
                  <a:lnTo>
                    <a:pt x="3003959" y="733348"/>
                  </a:lnTo>
                  <a:lnTo>
                    <a:pt x="3024714" y="725896"/>
                  </a:lnTo>
                  <a:cubicBezTo>
                    <a:pt x="3036352" y="721981"/>
                    <a:pt x="3046878" y="718805"/>
                    <a:pt x="3055829" y="716766"/>
                  </a:cubicBezTo>
                  <a:cubicBezTo>
                    <a:pt x="3127436" y="700456"/>
                    <a:pt x="3205806" y="722932"/>
                    <a:pt x="3206204" y="682156"/>
                  </a:cubicBezTo>
                  <a:cubicBezTo>
                    <a:pt x="3214956" y="637601"/>
                    <a:pt x="3103169" y="498762"/>
                    <a:pt x="3053442" y="487623"/>
                  </a:cubicBezTo>
                  <a:cubicBezTo>
                    <a:pt x="3026887" y="479269"/>
                    <a:pt x="2957368" y="472258"/>
                    <a:pt x="2894227" y="468100"/>
                  </a:cubicBezTo>
                  <a:lnTo>
                    <a:pt x="2879525" y="467317"/>
                  </a:lnTo>
                  <a:lnTo>
                    <a:pt x="2879645" y="467001"/>
                  </a:lnTo>
                  <a:cubicBezTo>
                    <a:pt x="2894638" y="446301"/>
                    <a:pt x="2944539" y="438693"/>
                    <a:pt x="2983028" y="435113"/>
                  </a:cubicBezTo>
                  <a:cubicBezTo>
                    <a:pt x="2821514" y="221883"/>
                    <a:pt x="2603907" y="85034"/>
                    <a:pt x="2416137" y="87819"/>
                  </a:cubicBezTo>
                  <a:close/>
                  <a:moveTo>
                    <a:pt x="2392485" y="615"/>
                  </a:moveTo>
                  <a:cubicBezTo>
                    <a:pt x="2418432" y="1614"/>
                    <a:pt x="2444617" y="3852"/>
                    <a:pt x="2470937" y="7487"/>
                  </a:cubicBezTo>
                  <a:cubicBezTo>
                    <a:pt x="2681497" y="36566"/>
                    <a:pt x="2952370" y="257358"/>
                    <a:pt x="3046072" y="398450"/>
                  </a:cubicBezTo>
                  <a:cubicBezTo>
                    <a:pt x="3172085" y="432916"/>
                    <a:pt x="3252323" y="615472"/>
                    <a:pt x="3285173" y="679556"/>
                  </a:cubicBezTo>
                  <a:cubicBezTo>
                    <a:pt x="3318023" y="743640"/>
                    <a:pt x="3279787" y="780258"/>
                    <a:pt x="3243169" y="782951"/>
                  </a:cubicBezTo>
                  <a:cubicBezTo>
                    <a:pt x="3242630" y="790759"/>
                    <a:pt x="3356122" y="881498"/>
                    <a:pt x="3417447" y="917242"/>
                  </a:cubicBezTo>
                  <a:cubicBezTo>
                    <a:pt x="3464903" y="710924"/>
                    <a:pt x="3396040" y="572459"/>
                    <a:pt x="3395030" y="421070"/>
                  </a:cubicBezTo>
                  <a:cubicBezTo>
                    <a:pt x="3467191" y="295058"/>
                    <a:pt x="3526427" y="340292"/>
                    <a:pt x="3598588" y="291826"/>
                  </a:cubicBezTo>
                  <a:cubicBezTo>
                    <a:pt x="3641669" y="242283"/>
                    <a:pt x="3681522" y="137811"/>
                    <a:pt x="3756913" y="143197"/>
                  </a:cubicBezTo>
                  <a:cubicBezTo>
                    <a:pt x="3888310" y="148582"/>
                    <a:pt x="4055250" y="393068"/>
                    <a:pt x="4060635" y="973587"/>
                  </a:cubicBezTo>
                  <a:cubicBezTo>
                    <a:pt x="4063866" y="1434556"/>
                    <a:pt x="3879694" y="1743665"/>
                    <a:pt x="3559816" y="1881525"/>
                  </a:cubicBezTo>
                  <a:cubicBezTo>
                    <a:pt x="3396242" y="1925145"/>
                    <a:pt x="3255841" y="1922418"/>
                    <a:pt x="3134182" y="1891067"/>
                  </a:cubicBezTo>
                  <a:lnTo>
                    <a:pt x="3080940" y="1872530"/>
                  </a:lnTo>
                  <a:lnTo>
                    <a:pt x="3074550" y="1902782"/>
                  </a:lnTo>
                  <a:cubicBezTo>
                    <a:pt x="3009628" y="2151834"/>
                    <a:pt x="2827096" y="2170977"/>
                    <a:pt x="2745577" y="2169092"/>
                  </a:cubicBezTo>
                  <a:cubicBezTo>
                    <a:pt x="2652413" y="2166938"/>
                    <a:pt x="2514554" y="2080775"/>
                    <a:pt x="2458010" y="2039848"/>
                  </a:cubicBezTo>
                  <a:cubicBezTo>
                    <a:pt x="2456395" y="2102315"/>
                    <a:pt x="2470934" y="2124396"/>
                    <a:pt x="2445085" y="2207865"/>
                  </a:cubicBezTo>
                  <a:cubicBezTo>
                    <a:pt x="2512939" y="2252562"/>
                    <a:pt x="2553865" y="2411962"/>
                    <a:pt x="2574329" y="2482507"/>
                  </a:cubicBezTo>
                  <a:cubicBezTo>
                    <a:pt x="2594793" y="2553052"/>
                    <a:pt x="2569483" y="2569209"/>
                    <a:pt x="2567867" y="2631138"/>
                  </a:cubicBezTo>
                  <a:cubicBezTo>
                    <a:pt x="2566252" y="2693067"/>
                    <a:pt x="2630874" y="2742610"/>
                    <a:pt x="2596947" y="2815310"/>
                  </a:cubicBezTo>
                  <a:cubicBezTo>
                    <a:pt x="2563020" y="2888010"/>
                    <a:pt x="2474704" y="2891780"/>
                    <a:pt x="2383695" y="2892857"/>
                  </a:cubicBezTo>
                  <a:cubicBezTo>
                    <a:pt x="2292686" y="2893934"/>
                    <a:pt x="2089126" y="2956401"/>
                    <a:pt x="2050891" y="2821772"/>
                  </a:cubicBezTo>
                  <a:cubicBezTo>
                    <a:pt x="2046112" y="2804944"/>
                    <a:pt x="2042763" y="2784892"/>
                    <a:pt x="2040734" y="2762177"/>
                  </a:cubicBezTo>
                  <a:cubicBezTo>
                    <a:pt x="2040556" y="2756179"/>
                    <a:pt x="2040379" y="2750181"/>
                    <a:pt x="2040201" y="2744183"/>
                  </a:cubicBezTo>
                  <a:lnTo>
                    <a:pt x="1990170" y="2791607"/>
                  </a:lnTo>
                  <a:cubicBezTo>
                    <a:pt x="1875799" y="2899267"/>
                    <a:pt x="1772682" y="2987365"/>
                    <a:pt x="1676086" y="2983326"/>
                  </a:cubicBezTo>
                  <a:cubicBezTo>
                    <a:pt x="1515070" y="2951015"/>
                    <a:pt x="1390672" y="2694682"/>
                    <a:pt x="1362669" y="2605289"/>
                  </a:cubicBezTo>
                  <a:cubicBezTo>
                    <a:pt x="1334666" y="2515896"/>
                    <a:pt x="1425674" y="2499201"/>
                    <a:pt x="1508068" y="2446965"/>
                  </a:cubicBezTo>
                  <a:cubicBezTo>
                    <a:pt x="1425675" y="2494893"/>
                    <a:pt x="1202731" y="2455580"/>
                    <a:pt x="1175266" y="2414653"/>
                  </a:cubicBezTo>
                  <a:cubicBezTo>
                    <a:pt x="1183343" y="2499738"/>
                    <a:pt x="1178497" y="2512125"/>
                    <a:pt x="1162341" y="2560053"/>
                  </a:cubicBezTo>
                  <a:cubicBezTo>
                    <a:pt x="1146185" y="2607981"/>
                    <a:pt x="1103642" y="2635984"/>
                    <a:pt x="1078332" y="2702221"/>
                  </a:cubicBezTo>
                  <a:cubicBezTo>
                    <a:pt x="1053022" y="2768459"/>
                    <a:pt x="1111181" y="2933783"/>
                    <a:pt x="1010479" y="2957478"/>
                  </a:cubicBezTo>
                  <a:cubicBezTo>
                    <a:pt x="909777" y="2981173"/>
                    <a:pt x="596899" y="2972017"/>
                    <a:pt x="474118" y="2844389"/>
                  </a:cubicBezTo>
                  <a:cubicBezTo>
                    <a:pt x="422421" y="2781383"/>
                    <a:pt x="506429" y="2683912"/>
                    <a:pt x="487043" y="2656986"/>
                  </a:cubicBezTo>
                  <a:cubicBezTo>
                    <a:pt x="467657" y="2630060"/>
                    <a:pt x="435345" y="2736148"/>
                    <a:pt x="357799" y="2682835"/>
                  </a:cubicBezTo>
                  <a:cubicBezTo>
                    <a:pt x="280253" y="2629522"/>
                    <a:pt x="43844" y="2453965"/>
                    <a:pt x="21765" y="2337107"/>
                  </a:cubicBezTo>
                  <a:cubicBezTo>
                    <a:pt x="-314" y="2220249"/>
                    <a:pt x="134315" y="2097468"/>
                    <a:pt x="225324" y="1981687"/>
                  </a:cubicBezTo>
                  <a:cubicBezTo>
                    <a:pt x="203245" y="1856212"/>
                    <a:pt x="194090" y="1772202"/>
                    <a:pt x="244710" y="1626266"/>
                  </a:cubicBezTo>
                  <a:cubicBezTo>
                    <a:pt x="176857" y="1584801"/>
                    <a:pt x="29304" y="1526104"/>
                    <a:pt x="37920" y="1332238"/>
                  </a:cubicBezTo>
                  <a:cubicBezTo>
                    <a:pt x="-108556" y="1080213"/>
                    <a:pt x="213475" y="945045"/>
                    <a:pt x="257633" y="928351"/>
                  </a:cubicBezTo>
                  <a:cubicBezTo>
                    <a:pt x="216166" y="1054903"/>
                    <a:pt x="306640" y="1143218"/>
                    <a:pt x="257635" y="1244997"/>
                  </a:cubicBezTo>
                  <a:cubicBezTo>
                    <a:pt x="728837" y="645630"/>
                    <a:pt x="1054100" y="607394"/>
                    <a:pt x="1272199" y="602009"/>
                  </a:cubicBezTo>
                  <a:cubicBezTo>
                    <a:pt x="1441831" y="451225"/>
                    <a:pt x="1456372" y="411913"/>
                    <a:pt x="1572691" y="382295"/>
                  </a:cubicBezTo>
                  <a:lnTo>
                    <a:pt x="1652908" y="373882"/>
                  </a:lnTo>
                  <a:lnTo>
                    <a:pt x="1662204" y="353995"/>
                  </a:lnTo>
                  <a:cubicBezTo>
                    <a:pt x="1733591" y="212200"/>
                    <a:pt x="1795908" y="167966"/>
                    <a:pt x="1918420" y="107652"/>
                  </a:cubicBezTo>
                  <a:cubicBezTo>
                    <a:pt x="2040933" y="47338"/>
                    <a:pt x="2210859" y="-6379"/>
                    <a:pt x="2392485" y="615"/>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kern="0">
                <a:solidFill>
                  <a:schemeClr val="tx1"/>
                </a:solidFill>
              </a:endParaRPr>
            </a:p>
          </p:txBody>
        </p:sp>
        <p:pic>
          <p:nvPicPr>
            <p:cNvPr id="7" name="Picture 6"/>
            <p:cNvPicPr>
              <a:picLocks noChangeAspect="1"/>
            </p:cNvPicPr>
            <p:nvPr/>
          </p:nvPicPr>
          <p:blipFill>
            <a:blip r:embed="rId4">
              <a:duotone>
                <a:prstClr val="black"/>
                <a:schemeClr val="bg2">
                  <a:tint val="45000"/>
                  <a:satMod val="400000"/>
                </a:schemeClr>
              </a:duotone>
            </a:blip>
            <a:stretch>
              <a:fillRect/>
            </a:stretch>
          </p:blipFill>
          <p:spPr>
            <a:xfrm>
              <a:off x="1118512" y="5129376"/>
              <a:ext cx="717487" cy="375283"/>
            </a:xfrm>
            <a:prstGeom prst="rect">
              <a:avLst/>
            </a:prstGeom>
          </p:spPr>
        </p:pic>
        <p:sp>
          <p:nvSpPr>
            <p:cNvPr id="8" name="Cross 7"/>
            <p:cNvSpPr/>
            <p:nvPr/>
          </p:nvSpPr>
          <p:spPr bwMode="auto">
            <a:xfrm>
              <a:off x="2042441" y="5202092"/>
              <a:ext cx="229849" cy="229849"/>
            </a:xfrm>
            <a:prstGeom prst="plus">
              <a:avLst>
                <a:gd name="adj" fmla="val 47102"/>
              </a:avLst>
            </a:prstGeom>
            <a:solidFill>
              <a:srgbClr val="002050"/>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a:endParaRPr lang="en-US" sz="2448" kern="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66825135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fontScale="77500" lnSpcReduction="20000"/>
          </a:bodyPr>
          <a:lstStyle/>
          <a:p>
            <a:r>
              <a:rPr lang="en-US" sz="5507" dirty="0">
                <a:solidFill>
                  <a:schemeClr val="tx1"/>
                </a:solidFill>
              </a:rPr>
              <a:t>HDInsight allows you to add Hadoop projects</a:t>
            </a:r>
            <a:endParaRPr lang="en-US" dirty="0">
              <a:solidFill>
                <a:schemeClr val="tx1"/>
              </a:solidFill>
            </a:endParaRPr>
          </a:p>
        </p:txBody>
      </p:sp>
      <p:sp>
        <p:nvSpPr>
          <p:cNvPr id="3" name="Freeform 61"/>
          <p:cNvSpPr>
            <a:spLocks/>
          </p:cNvSpPr>
          <p:nvPr/>
        </p:nvSpPr>
        <p:spPr bwMode="auto">
          <a:xfrm>
            <a:off x="2374023" y="4154479"/>
            <a:ext cx="2193185" cy="149088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p>
            <a:pPr defTabSz="914187"/>
            <a:endParaRPr lang="en-US" dirty="0">
              <a:solidFill>
                <a:srgbClr val="000000"/>
              </a:solidFill>
              <a:latin typeface="Segoe UI"/>
            </a:endParaRPr>
          </a:p>
        </p:txBody>
      </p:sp>
      <p:sp>
        <p:nvSpPr>
          <p:cNvPr id="4" name="Freeform 5"/>
          <p:cNvSpPr>
            <a:spLocks noEditPoints="1"/>
          </p:cNvSpPr>
          <p:nvPr/>
        </p:nvSpPr>
        <p:spPr bwMode="auto">
          <a:xfrm>
            <a:off x="2763191" y="4489506"/>
            <a:ext cx="1312774" cy="988820"/>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5665" tIns="140532" rIns="175665" bIns="140532" numCol="1" spcCol="0" rtlCol="0" fromWordArt="0" anchor="t" anchorCtr="0" forceAA="0" compatLnSpc="1">
            <a:prstTxWarp prst="textNoShape">
              <a:avLst/>
            </a:prstTxWarp>
            <a:noAutofit/>
          </a:bodyPr>
          <a:lstStyle/>
          <a:p>
            <a:pPr algn="ctr" defTabSz="895567">
              <a:lnSpc>
                <a:spcPct val="90000"/>
              </a:lnSpc>
            </a:pPr>
            <a:endParaRPr lang="en-US" sz="1151" kern="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7" descr="\\MAGNUM\Projects\Microsoft\Cloud Power FY12\Design\Icons\PNGs\Repair.png"/>
          <p:cNvPicPr>
            <a:picLocks noChangeAspect="1" noChangeArrowheads="1"/>
          </p:cNvPicPr>
          <p:nvPr/>
        </p:nvPicPr>
        <p:blipFill>
          <a:blip r:embed="rId3" cstate="print"/>
          <a:srcRect/>
          <a:stretch>
            <a:fillRect/>
          </a:stretch>
        </p:blipFill>
        <p:spPr bwMode="auto">
          <a:xfrm>
            <a:off x="4940843" y="4424144"/>
            <a:ext cx="951555" cy="951555"/>
          </a:xfrm>
          <a:prstGeom prst="rect">
            <a:avLst/>
          </a:prstGeom>
          <a:noFill/>
        </p:spPr>
      </p:pic>
      <p:sp>
        <p:nvSpPr>
          <p:cNvPr id="6" name="TextBox 5"/>
          <p:cNvSpPr txBox="1"/>
          <p:nvPr/>
        </p:nvSpPr>
        <p:spPr>
          <a:xfrm>
            <a:off x="7331440" y="5850756"/>
            <a:ext cx="1922796" cy="973324"/>
          </a:xfrm>
          <a:prstGeom prst="rect">
            <a:avLst/>
          </a:prstGeom>
          <a:noFill/>
        </p:spPr>
        <p:txBody>
          <a:bodyPr wrap="square" lIns="182854" tIns="146283" rIns="182854" bIns="146283" rtlCol="0">
            <a:spAutoFit/>
          </a:bodyPr>
          <a:lstStyle/>
          <a:p>
            <a:pPr>
              <a:lnSpc>
                <a:spcPct val="90000"/>
              </a:lnSpc>
              <a:spcAft>
                <a:spcPts val="600"/>
              </a:spcAft>
            </a:pPr>
            <a:r>
              <a:rPr lang="en-US" sz="4799" dirty="0">
                <a:gradFill>
                  <a:gsLst>
                    <a:gs pos="2917">
                      <a:srgbClr val="000000"/>
                    </a:gs>
                    <a:gs pos="30000">
                      <a:srgbClr val="000000"/>
                    </a:gs>
                  </a:gsLst>
                  <a:lin ang="5400000" scaled="0"/>
                </a:gradFill>
              </a:rPr>
              <a:t>…</a:t>
            </a:r>
            <a:endParaRPr lang="en-US" dirty="0">
              <a:gradFill>
                <a:gsLst>
                  <a:gs pos="2917">
                    <a:srgbClr val="000000"/>
                  </a:gs>
                  <a:gs pos="30000">
                    <a:srgbClr val="000000"/>
                  </a:gs>
                </a:gsLst>
                <a:lin ang="5400000" scaled="0"/>
              </a:gra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6036" y="3834366"/>
            <a:ext cx="3166224" cy="2131113"/>
          </a:xfrm>
          <a:prstGeom prst="rect">
            <a:avLst/>
          </a:prstGeom>
        </p:spPr>
      </p:pic>
      <p:sp>
        <p:nvSpPr>
          <p:cNvPr id="8" name="Text Placeholder 2"/>
          <p:cNvSpPr txBox="1">
            <a:spLocks/>
          </p:cNvSpPr>
          <p:nvPr/>
        </p:nvSpPr>
        <p:spPr>
          <a:xfrm>
            <a:off x="391213" y="1334347"/>
            <a:ext cx="12488312" cy="1656103"/>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Add Hadoop projects to HDInsight</a:t>
            </a:r>
          </a:p>
          <a:p>
            <a:pPr lvl="1"/>
            <a:r>
              <a:rPr lang="en-US" dirty="0"/>
              <a:t>Modify HDInsight clusters with custom script</a:t>
            </a:r>
          </a:p>
          <a:p>
            <a:pPr lvl="1"/>
            <a:r>
              <a:rPr lang="en-US" dirty="0"/>
              <a:t>Add Apache Hadoop projects to HDInsight</a:t>
            </a:r>
          </a:p>
          <a:p>
            <a:pPr lvl="1"/>
            <a:r>
              <a:rPr lang="en-US" dirty="0"/>
              <a:t>Documented for Spark, R, Giraph, Solr</a:t>
            </a:r>
          </a:p>
        </p:txBody>
      </p:sp>
    </p:spTree>
    <p:extLst>
      <p:ext uri="{BB962C8B-B14F-4D97-AF65-F5344CB8AC3E}">
        <p14:creationId xmlns:p14="http://schemas.microsoft.com/office/powerpoint/2010/main" val="222713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01770" y="281684"/>
            <a:ext cx="10971244" cy="1024684"/>
          </a:xfrm>
        </p:spPr>
        <p:txBody>
          <a:bodyPr/>
          <a:lstStyle/>
          <a:p>
            <a:r>
              <a:rPr lang="en-US" dirty="0">
                <a:solidFill>
                  <a:schemeClr val="tx1"/>
                </a:solidFill>
              </a:rPr>
              <a:t>Microsoft makes Hadoop easier</a:t>
            </a:r>
          </a:p>
        </p:txBody>
      </p:sp>
      <p:sp>
        <p:nvSpPr>
          <p:cNvPr id="3" name="Text Placeholder 2"/>
          <p:cNvSpPr txBox="1">
            <a:spLocks/>
          </p:cNvSpPr>
          <p:nvPr/>
        </p:nvSpPr>
        <p:spPr>
          <a:xfrm>
            <a:off x="427859" y="1068342"/>
            <a:ext cx="12488312" cy="1823650"/>
          </a:xfrm>
          <a:prstGeom prst="rect">
            <a:avLst/>
          </a:prstGeom>
        </p:spPr>
        <p:txBody>
          <a:bodyPr vert="horz" wrap="square" lIns="149217" tIns="93260" rIns="149217" bIns="93260" rtlCol="0">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97">
              <a:buNone/>
            </a:pPr>
            <a:r>
              <a:rPr lang="en-US" sz="3599" dirty="0">
                <a:solidFill>
                  <a:schemeClr val="accent2"/>
                </a:solidFill>
                <a:latin typeface="+mn-lt"/>
              </a:rPr>
              <a:t>Deep Visual Studio integration</a:t>
            </a:r>
          </a:p>
          <a:p>
            <a:pPr marL="241207" lvl="1" indent="0">
              <a:buNone/>
            </a:pPr>
            <a:r>
              <a:rPr lang="en-US" sz="1632" dirty="0">
                <a:solidFill>
                  <a:schemeClr val="tx1"/>
                </a:solidFill>
              </a:rPr>
              <a:t>Debug Hive jobs through Yarn logs or troubleshoot Storm topologies</a:t>
            </a:r>
          </a:p>
          <a:p>
            <a:pPr marL="241207" lvl="1" indent="0">
              <a:buNone/>
            </a:pPr>
            <a:r>
              <a:rPr lang="en-US" sz="1632" dirty="0">
                <a:solidFill>
                  <a:schemeClr val="tx1"/>
                </a:solidFill>
              </a:rPr>
              <a:t>Visualize Hadoop clusters, tables, and storage</a:t>
            </a:r>
          </a:p>
          <a:p>
            <a:pPr marL="241207" lvl="1" indent="0">
              <a:buNone/>
            </a:pPr>
            <a:r>
              <a:rPr lang="en-US" sz="1632" dirty="0">
                <a:solidFill>
                  <a:schemeClr val="tx1"/>
                </a:solidFill>
              </a:rPr>
              <a:t>Submit Hive queries, Storm topologies (C# or Java spouts/bolts)</a:t>
            </a:r>
          </a:p>
          <a:p>
            <a:pPr marL="241207" lvl="1" indent="0">
              <a:buNone/>
            </a:pPr>
            <a:r>
              <a:rPr lang="en-US" sz="1632" dirty="0">
                <a:solidFill>
                  <a:schemeClr val="tx1"/>
                </a:solidFill>
              </a:rPr>
              <a:t>IntelliSense</a:t>
            </a:r>
          </a:p>
        </p:txBody>
      </p:sp>
      <p:pic>
        <p:nvPicPr>
          <p:cNvPr id="4" name="Picture 3"/>
          <p:cNvPicPr>
            <a:picLocks noChangeAspect="1"/>
          </p:cNvPicPr>
          <p:nvPr/>
        </p:nvPicPr>
        <p:blipFill>
          <a:blip r:embed="rId3"/>
          <a:stretch>
            <a:fillRect/>
          </a:stretch>
        </p:blipFill>
        <p:spPr>
          <a:xfrm>
            <a:off x="485866" y="2910397"/>
            <a:ext cx="6629536" cy="3883490"/>
          </a:xfrm>
          <a:prstGeom prst="rect">
            <a:avLst/>
          </a:prstGeom>
          <a:ln w="63500">
            <a:solidFill>
              <a:schemeClr val="accent2"/>
            </a:solid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7544826" y="2781451"/>
            <a:ext cx="4612738" cy="4081818"/>
          </a:xfrm>
          <a:prstGeom prst="rect">
            <a:avLst/>
          </a:prstGeom>
          <a:ln w="63500">
            <a:solidFill>
              <a:schemeClr val="accent2"/>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8583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v-abb\Dropbox\SQL Server 14\Resources\bb1be64e-7318-465f-b470-54f58299ef6f\MSMEA12_Hana_Salman_02.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7966492" y="3464610"/>
            <a:ext cx="3751974" cy="29208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75785" y="3464611"/>
            <a:ext cx="3753072" cy="2923078"/>
          </a:xfrm>
          <a:prstGeom prst="rect">
            <a:avLst/>
          </a:prstGeom>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114725" y="3464611"/>
            <a:ext cx="3757651" cy="2923080"/>
          </a:xfrm>
          <a:prstGeom prst="rect">
            <a:avLst/>
          </a:prstGeom>
        </p:spPr>
      </p:pic>
      <p:sp useBgFill="1">
        <p:nvSpPr>
          <p:cNvPr id="9" name="Rectangle 8"/>
          <p:cNvSpPr/>
          <p:nvPr/>
        </p:nvSpPr>
        <p:spPr bwMode="auto">
          <a:xfrm>
            <a:off x="882" y="495"/>
            <a:ext cx="12434711" cy="346192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3" name="Text Placeholder 2"/>
          <p:cNvSpPr>
            <a:spLocks noGrp="1"/>
          </p:cNvSpPr>
          <p:nvPr>
            <p:ph type="body" sz="quarter" idx="13"/>
          </p:nvPr>
        </p:nvSpPr>
        <p:spPr>
          <a:xfrm>
            <a:off x="100617" y="369116"/>
            <a:ext cx="10971244" cy="1024684"/>
          </a:xfrm>
        </p:spPr>
        <p:txBody>
          <a:bodyPr/>
          <a:lstStyle/>
          <a:p>
            <a:r>
              <a:rPr lang="en-US" dirty="0">
                <a:solidFill>
                  <a:schemeClr val="tx1"/>
                </a:solidFill>
              </a:rPr>
              <a:t>Introducing Azure HDInsight</a:t>
            </a:r>
          </a:p>
        </p:txBody>
      </p:sp>
      <p:sp>
        <p:nvSpPr>
          <p:cNvPr id="4" name="Rectangle 3"/>
          <p:cNvSpPr/>
          <p:nvPr/>
        </p:nvSpPr>
        <p:spPr bwMode="auto">
          <a:xfrm>
            <a:off x="275786" y="1213174"/>
            <a:ext cx="3752899" cy="22514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100% Apache Hadoop</a:t>
            </a:r>
          </a:p>
        </p:txBody>
      </p:sp>
      <p:sp>
        <p:nvSpPr>
          <p:cNvPr id="5" name="Rectangle 4"/>
          <p:cNvSpPr/>
          <p:nvPr/>
        </p:nvSpPr>
        <p:spPr bwMode="auto">
          <a:xfrm>
            <a:off x="4120402" y="1213174"/>
            <a:ext cx="3751974" cy="22514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Powered by </a:t>
            </a:r>
            <a:br>
              <a:rPr lang="en-US" sz="3599" dirty="0">
                <a:ln>
                  <a:solidFill>
                    <a:srgbClr val="FFFFFF">
                      <a:alpha val="0"/>
                    </a:srgbClr>
                  </a:solidFill>
                </a:ln>
                <a:solidFill>
                  <a:srgbClr val="FFFFFF"/>
                </a:solidFill>
                <a:latin typeface="Segoe UI Light"/>
                <a:ea typeface="Segoe UI" pitchFamily="34" charset="0"/>
                <a:cs typeface="Segoe UI" pitchFamily="34" charset="0"/>
              </a:rPr>
            </a:br>
            <a:r>
              <a:rPr lang="en-US" sz="3599" dirty="0">
                <a:ln>
                  <a:solidFill>
                    <a:srgbClr val="FFFFFF">
                      <a:alpha val="0"/>
                    </a:srgbClr>
                  </a:solidFill>
                </a:ln>
                <a:solidFill>
                  <a:srgbClr val="FFFFFF"/>
                </a:solidFill>
                <a:latin typeface="Segoe UI Light"/>
                <a:ea typeface="Segoe UI" pitchFamily="34" charset="0"/>
                <a:cs typeface="Segoe UI" pitchFamily="34" charset="0"/>
              </a:rPr>
              <a:t>the cloud</a:t>
            </a:r>
          </a:p>
        </p:txBody>
      </p:sp>
      <p:sp>
        <p:nvSpPr>
          <p:cNvPr id="6" name="Rectangle 5"/>
          <p:cNvSpPr/>
          <p:nvPr/>
        </p:nvSpPr>
        <p:spPr bwMode="auto">
          <a:xfrm>
            <a:off x="7966493" y="1213174"/>
            <a:ext cx="3754378" cy="22514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Immersive insights</a:t>
            </a:r>
          </a:p>
        </p:txBody>
      </p:sp>
      <p:sp>
        <p:nvSpPr>
          <p:cNvPr id="11" name="Rectangle 10"/>
          <p:cNvSpPr/>
          <p:nvPr/>
        </p:nvSpPr>
        <p:spPr bwMode="auto">
          <a:xfrm>
            <a:off x="7955351" y="1066025"/>
            <a:ext cx="3832549" cy="5321664"/>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235117" y="1213175"/>
            <a:ext cx="3832549" cy="520531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44159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12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4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1"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tx1"/>
                </a:solidFill>
              </a:rPr>
              <a:t>Why Microsoft Azure?</a:t>
            </a:r>
          </a:p>
        </p:txBody>
      </p:sp>
      <p:sp>
        <p:nvSpPr>
          <p:cNvPr id="86" name="original cloud"/>
          <p:cNvSpPr>
            <a:spLocks noChangeAspect="1"/>
          </p:cNvSpPr>
          <p:nvPr/>
        </p:nvSpPr>
        <p:spPr bwMode="black">
          <a:xfrm>
            <a:off x="4574560" y="68748"/>
            <a:ext cx="7879797" cy="48171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6" name="Rectangle 105"/>
          <p:cNvSpPr/>
          <p:nvPr/>
        </p:nvSpPr>
        <p:spPr bwMode="auto">
          <a:xfrm>
            <a:off x="5140195" y="3596815"/>
            <a:ext cx="6764093" cy="1215098"/>
          </a:xfrm>
          <a:prstGeom prst="rect">
            <a:avLst/>
          </a:prstGeom>
          <a:solidFill>
            <a:schemeClr val="bg2">
              <a:lumMod val="1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564060" y="3776385"/>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0" compatLnSpc="1">
            <a:prstTxWarp prst="textNoShape">
              <a:avLst/>
            </a:prstTxWarp>
          </a:bodyPr>
          <a:lstStyle/>
          <a:p>
            <a:pPr algn="ctr" defTabSz="913923"/>
            <a:endParaRPr lang="en-US" sz="1599" dirty="0">
              <a:gradFill>
                <a:gsLst>
                  <a:gs pos="0">
                    <a:srgbClr val="FFFFFF"/>
                  </a:gs>
                  <a:gs pos="100000">
                    <a:srgbClr val="FFFFFF"/>
                  </a:gs>
                </a:gsLst>
                <a:lin ang="5400000" scaled="0"/>
              </a:gradFill>
              <a:latin typeface="Segoe UI Light" pitchFamily="34" charset="0"/>
            </a:endParaRPr>
          </a:p>
        </p:txBody>
      </p:sp>
      <p:sp>
        <p:nvSpPr>
          <p:cNvPr id="95" name="Freeform 94"/>
          <p:cNvSpPr>
            <a:spLocks noEditPoints="1"/>
          </p:cNvSpPr>
          <p:nvPr/>
        </p:nvSpPr>
        <p:spPr bwMode="auto">
          <a:xfrm>
            <a:off x="8730956" y="4119110"/>
            <a:ext cx="614090" cy="427745"/>
          </a:xfrm>
          <a:custGeom>
            <a:avLst/>
            <a:gdLst>
              <a:gd name="T0" fmla="*/ 0 w 570"/>
              <a:gd name="T1" fmla="*/ 12 h 499"/>
              <a:gd name="T2" fmla="*/ 558 w 570"/>
              <a:gd name="T3" fmla="*/ 499 h 499"/>
              <a:gd name="T4" fmla="*/ 558 w 570"/>
              <a:gd name="T5" fmla="*/ 0 h 499"/>
              <a:gd name="T6" fmla="*/ 223 w 570"/>
              <a:gd name="T7" fmla="*/ 396 h 499"/>
              <a:gd name="T8" fmla="*/ 223 w 570"/>
              <a:gd name="T9" fmla="*/ 215 h 499"/>
              <a:gd name="T10" fmla="*/ 138 w 570"/>
              <a:gd name="T11" fmla="*/ 215 h 499"/>
              <a:gd name="T12" fmla="*/ 138 w 570"/>
              <a:gd name="T13" fmla="*/ 124 h 499"/>
              <a:gd name="T14" fmla="*/ 138 w 570"/>
              <a:gd name="T15" fmla="*/ 195 h 499"/>
              <a:gd name="T16" fmla="*/ 138 w 570"/>
              <a:gd name="T17" fmla="*/ 376 h 499"/>
              <a:gd name="T18" fmla="*/ 243 w 570"/>
              <a:gd name="T19" fmla="*/ 464 h 499"/>
              <a:gd name="T20" fmla="*/ 327 w 570"/>
              <a:gd name="T21" fmla="*/ 464 h 499"/>
              <a:gd name="T22" fmla="*/ 327 w 570"/>
              <a:gd name="T23" fmla="*/ 285 h 499"/>
              <a:gd name="T24" fmla="*/ 327 w 570"/>
              <a:gd name="T25" fmla="*/ 215 h 499"/>
              <a:gd name="T26" fmla="*/ 327 w 570"/>
              <a:gd name="T27" fmla="*/ 124 h 499"/>
              <a:gd name="T28" fmla="*/ 327 w 570"/>
              <a:gd name="T29" fmla="*/ 305 h 499"/>
              <a:gd name="T30" fmla="*/ 243 w 570"/>
              <a:gd name="T31" fmla="*/ 305 h 499"/>
              <a:gd name="T32" fmla="*/ 347 w 570"/>
              <a:gd name="T33" fmla="*/ 396 h 499"/>
              <a:gd name="T34" fmla="*/ 347 w 570"/>
              <a:gd name="T35" fmla="*/ 464 h 499"/>
              <a:gd name="T36" fmla="*/ 347 w 570"/>
              <a:gd name="T37" fmla="*/ 285 h 499"/>
              <a:gd name="T38" fmla="*/ 347 w 570"/>
              <a:gd name="T39" fmla="*/ 195 h 499"/>
              <a:gd name="T40" fmla="*/ 432 w 570"/>
              <a:gd name="T41" fmla="*/ 195 h 499"/>
              <a:gd name="T42" fmla="*/ 432 w 570"/>
              <a:gd name="T43" fmla="*/ 376 h 499"/>
              <a:gd name="T44" fmla="*/ 432 w 570"/>
              <a:gd name="T45" fmla="*/ 305 h 499"/>
              <a:gd name="T46" fmla="*/ 535 w 570"/>
              <a:gd name="T47" fmla="*/ 396 h 499"/>
              <a:gd name="T48" fmla="*/ 452 w 570"/>
              <a:gd name="T49" fmla="*/ 376 h 499"/>
              <a:gd name="T50" fmla="*/ 535 w 570"/>
              <a:gd name="T51" fmla="*/ 376 h 499"/>
              <a:gd name="T52" fmla="*/ 452 w 570"/>
              <a:gd name="T53" fmla="*/ 215 h 499"/>
              <a:gd name="T54" fmla="*/ 452 w 570"/>
              <a:gd name="T55" fmla="*/ 285 h 499"/>
              <a:gd name="T56" fmla="*/ 535 w 570"/>
              <a:gd name="T57" fmla="*/ 124 h 499"/>
              <a:gd name="T58" fmla="*/ 535 w 570"/>
              <a:gd name="T59" fmla="*/ 35 h 499"/>
              <a:gd name="T60" fmla="*/ 452 w 570"/>
              <a:gd name="T61" fmla="*/ 35 h 499"/>
              <a:gd name="T62" fmla="*/ 432 w 570"/>
              <a:gd name="T63" fmla="*/ 104 h 499"/>
              <a:gd name="T64" fmla="*/ 432 w 570"/>
              <a:gd name="T65" fmla="*/ 35 h 499"/>
              <a:gd name="T66" fmla="*/ 243 w 570"/>
              <a:gd name="T67" fmla="*/ 104 h 499"/>
              <a:gd name="T68" fmla="*/ 223 w 570"/>
              <a:gd name="T69" fmla="*/ 35 h 499"/>
              <a:gd name="T70" fmla="*/ 138 w 570"/>
              <a:gd name="T71" fmla="*/ 35 h 499"/>
              <a:gd name="T72" fmla="*/ 35 w 570"/>
              <a:gd name="T73" fmla="*/ 104 h 499"/>
              <a:gd name="T74" fmla="*/ 118 w 570"/>
              <a:gd name="T75" fmla="*/ 104 h 499"/>
              <a:gd name="T76" fmla="*/ 35 w 570"/>
              <a:gd name="T77" fmla="*/ 195 h 499"/>
              <a:gd name="T78" fmla="*/ 118 w 570"/>
              <a:gd name="T79" fmla="*/ 215 h 499"/>
              <a:gd name="T80" fmla="*/ 35 w 570"/>
              <a:gd name="T81" fmla="*/ 215 h 499"/>
              <a:gd name="T82" fmla="*/ 118 w 570"/>
              <a:gd name="T83" fmla="*/ 376 h 499"/>
              <a:gd name="T84" fmla="*/ 118 w 570"/>
              <a:gd name="T85" fmla="*/ 305 h 499"/>
              <a:gd name="T86" fmla="*/ 35 w 570"/>
              <a:gd name="T87" fmla="*/ 46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499">
                <a:moveTo>
                  <a:pt x="558" y="0"/>
                </a:moveTo>
                <a:cubicBezTo>
                  <a:pt x="12" y="0"/>
                  <a:pt x="12" y="0"/>
                  <a:pt x="12" y="0"/>
                </a:cubicBezTo>
                <a:cubicBezTo>
                  <a:pt x="5" y="0"/>
                  <a:pt x="0" y="5"/>
                  <a:pt x="0" y="12"/>
                </a:cubicBezTo>
                <a:cubicBezTo>
                  <a:pt x="0" y="487"/>
                  <a:pt x="0" y="487"/>
                  <a:pt x="0" y="487"/>
                </a:cubicBezTo>
                <a:cubicBezTo>
                  <a:pt x="0" y="493"/>
                  <a:pt x="5" y="499"/>
                  <a:pt x="12" y="499"/>
                </a:cubicBezTo>
                <a:cubicBezTo>
                  <a:pt x="558" y="499"/>
                  <a:pt x="558" y="499"/>
                  <a:pt x="558" y="499"/>
                </a:cubicBezTo>
                <a:cubicBezTo>
                  <a:pt x="564" y="499"/>
                  <a:pt x="570" y="493"/>
                  <a:pt x="570" y="487"/>
                </a:cubicBezTo>
                <a:cubicBezTo>
                  <a:pt x="570" y="12"/>
                  <a:pt x="570" y="12"/>
                  <a:pt x="570" y="12"/>
                </a:cubicBezTo>
                <a:cubicBezTo>
                  <a:pt x="570" y="5"/>
                  <a:pt x="564" y="0"/>
                  <a:pt x="558" y="0"/>
                </a:cubicBezTo>
                <a:close/>
                <a:moveTo>
                  <a:pt x="138" y="464"/>
                </a:moveTo>
                <a:cubicBezTo>
                  <a:pt x="138" y="396"/>
                  <a:pt x="138" y="396"/>
                  <a:pt x="138" y="396"/>
                </a:cubicBezTo>
                <a:cubicBezTo>
                  <a:pt x="223" y="396"/>
                  <a:pt x="223" y="396"/>
                  <a:pt x="223" y="396"/>
                </a:cubicBezTo>
                <a:cubicBezTo>
                  <a:pt x="223" y="464"/>
                  <a:pt x="223" y="464"/>
                  <a:pt x="223" y="464"/>
                </a:cubicBezTo>
                <a:lnTo>
                  <a:pt x="138" y="464"/>
                </a:lnTo>
                <a:close/>
                <a:moveTo>
                  <a:pt x="223" y="215"/>
                </a:moveTo>
                <a:cubicBezTo>
                  <a:pt x="223" y="285"/>
                  <a:pt x="223" y="285"/>
                  <a:pt x="223" y="285"/>
                </a:cubicBezTo>
                <a:cubicBezTo>
                  <a:pt x="138" y="285"/>
                  <a:pt x="138" y="285"/>
                  <a:pt x="138" y="285"/>
                </a:cubicBezTo>
                <a:cubicBezTo>
                  <a:pt x="138" y="215"/>
                  <a:pt x="138" y="215"/>
                  <a:pt x="138" y="215"/>
                </a:cubicBezTo>
                <a:lnTo>
                  <a:pt x="223" y="215"/>
                </a:lnTo>
                <a:close/>
                <a:moveTo>
                  <a:pt x="138" y="195"/>
                </a:moveTo>
                <a:cubicBezTo>
                  <a:pt x="138" y="124"/>
                  <a:pt x="138" y="124"/>
                  <a:pt x="138" y="124"/>
                </a:cubicBezTo>
                <a:cubicBezTo>
                  <a:pt x="223" y="124"/>
                  <a:pt x="223" y="124"/>
                  <a:pt x="223" y="124"/>
                </a:cubicBezTo>
                <a:cubicBezTo>
                  <a:pt x="223" y="195"/>
                  <a:pt x="223" y="195"/>
                  <a:pt x="223" y="195"/>
                </a:cubicBezTo>
                <a:lnTo>
                  <a:pt x="138" y="195"/>
                </a:lnTo>
                <a:close/>
                <a:moveTo>
                  <a:pt x="223" y="305"/>
                </a:moveTo>
                <a:cubicBezTo>
                  <a:pt x="223" y="376"/>
                  <a:pt x="223" y="376"/>
                  <a:pt x="223" y="376"/>
                </a:cubicBezTo>
                <a:cubicBezTo>
                  <a:pt x="138" y="376"/>
                  <a:pt x="138" y="376"/>
                  <a:pt x="138" y="376"/>
                </a:cubicBezTo>
                <a:cubicBezTo>
                  <a:pt x="138" y="305"/>
                  <a:pt x="138" y="305"/>
                  <a:pt x="138" y="305"/>
                </a:cubicBezTo>
                <a:lnTo>
                  <a:pt x="223" y="305"/>
                </a:lnTo>
                <a:close/>
                <a:moveTo>
                  <a:pt x="243" y="464"/>
                </a:moveTo>
                <a:cubicBezTo>
                  <a:pt x="243" y="396"/>
                  <a:pt x="243" y="396"/>
                  <a:pt x="243" y="396"/>
                </a:cubicBezTo>
                <a:cubicBezTo>
                  <a:pt x="327" y="396"/>
                  <a:pt x="327" y="396"/>
                  <a:pt x="327" y="396"/>
                </a:cubicBezTo>
                <a:cubicBezTo>
                  <a:pt x="327" y="464"/>
                  <a:pt x="327" y="464"/>
                  <a:pt x="327" y="464"/>
                </a:cubicBezTo>
                <a:lnTo>
                  <a:pt x="243" y="464"/>
                </a:lnTo>
                <a:close/>
                <a:moveTo>
                  <a:pt x="327" y="215"/>
                </a:moveTo>
                <a:cubicBezTo>
                  <a:pt x="327" y="285"/>
                  <a:pt x="327" y="285"/>
                  <a:pt x="327" y="285"/>
                </a:cubicBezTo>
                <a:cubicBezTo>
                  <a:pt x="243" y="285"/>
                  <a:pt x="243" y="285"/>
                  <a:pt x="243" y="285"/>
                </a:cubicBezTo>
                <a:cubicBezTo>
                  <a:pt x="243" y="215"/>
                  <a:pt x="243" y="215"/>
                  <a:pt x="243" y="215"/>
                </a:cubicBezTo>
                <a:lnTo>
                  <a:pt x="327" y="215"/>
                </a:lnTo>
                <a:close/>
                <a:moveTo>
                  <a:pt x="243" y="195"/>
                </a:moveTo>
                <a:cubicBezTo>
                  <a:pt x="243" y="124"/>
                  <a:pt x="243" y="124"/>
                  <a:pt x="243" y="124"/>
                </a:cubicBezTo>
                <a:cubicBezTo>
                  <a:pt x="327" y="124"/>
                  <a:pt x="327" y="124"/>
                  <a:pt x="327" y="124"/>
                </a:cubicBezTo>
                <a:cubicBezTo>
                  <a:pt x="327" y="195"/>
                  <a:pt x="327" y="195"/>
                  <a:pt x="327" y="195"/>
                </a:cubicBezTo>
                <a:lnTo>
                  <a:pt x="243" y="195"/>
                </a:lnTo>
                <a:close/>
                <a:moveTo>
                  <a:pt x="327" y="305"/>
                </a:moveTo>
                <a:cubicBezTo>
                  <a:pt x="327" y="376"/>
                  <a:pt x="327" y="376"/>
                  <a:pt x="327" y="376"/>
                </a:cubicBezTo>
                <a:cubicBezTo>
                  <a:pt x="243" y="376"/>
                  <a:pt x="243" y="376"/>
                  <a:pt x="243" y="376"/>
                </a:cubicBezTo>
                <a:cubicBezTo>
                  <a:pt x="243" y="305"/>
                  <a:pt x="243" y="305"/>
                  <a:pt x="243" y="305"/>
                </a:cubicBezTo>
                <a:lnTo>
                  <a:pt x="327" y="305"/>
                </a:lnTo>
                <a:close/>
                <a:moveTo>
                  <a:pt x="347" y="464"/>
                </a:moveTo>
                <a:cubicBezTo>
                  <a:pt x="347" y="396"/>
                  <a:pt x="347" y="396"/>
                  <a:pt x="347" y="396"/>
                </a:cubicBezTo>
                <a:cubicBezTo>
                  <a:pt x="432" y="396"/>
                  <a:pt x="432" y="396"/>
                  <a:pt x="432" y="396"/>
                </a:cubicBezTo>
                <a:cubicBezTo>
                  <a:pt x="432" y="464"/>
                  <a:pt x="432" y="464"/>
                  <a:pt x="432" y="464"/>
                </a:cubicBezTo>
                <a:lnTo>
                  <a:pt x="347" y="464"/>
                </a:lnTo>
                <a:close/>
                <a:moveTo>
                  <a:pt x="432" y="215"/>
                </a:moveTo>
                <a:cubicBezTo>
                  <a:pt x="432" y="285"/>
                  <a:pt x="432" y="285"/>
                  <a:pt x="432" y="285"/>
                </a:cubicBezTo>
                <a:cubicBezTo>
                  <a:pt x="347" y="285"/>
                  <a:pt x="347" y="285"/>
                  <a:pt x="347" y="285"/>
                </a:cubicBezTo>
                <a:cubicBezTo>
                  <a:pt x="347" y="215"/>
                  <a:pt x="347" y="215"/>
                  <a:pt x="347" y="215"/>
                </a:cubicBezTo>
                <a:lnTo>
                  <a:pt x="432" y="215"/>
                </a:lnTo>
                <a:close/>
                <a:moveTo>
                  <a:pt x="347" y="195"/>
                </a:moveTo>
                <a:cubicBezTo>
                  <a:pt x="347" y="124"/>
                  <a:pt x="347" y="124"/>
                  <a:pt x="347" y="124"/>
                </a:cubicBezTo>
                <a:cubicBezTo>
                  <a:pt x="432" y="124"/>
                  <a:pt x="432" y="124"/>
                  <a:pt x="432" y="124"/>
                </a:cubicBezTo>
                <a:cubicBezTo>
                  <a:pt x="432" y="195"/>
                  <a:pt x="432" y="195"/>
                  <a:pt x="432" y="195"/>
                </a:cubicBezTo>
                <a:lnTo>
                  <a:pt x="347" y="195"/>
                </a:lnTo>
                <a:close/>
                <a:moveTo>
                  <a:pt x="432" y="305"/>
                </a:moveTo>
                <a:cubicBezTo>
                  <a:pt x="432" y="376"/>
                  <a:pt x="432" y="376"/>
                  <a:pt x="432" y="376"/>
                </a:cubicBezTo>
                <a:cubicBezTo>
                  <a:pt x="347" y="376"/>
                  <a:pt x="347" y="376"/>
                  <a:pt x="347" y="376"/>
                </a:cubicBezTo>
                <a:cubicBezTo>
                  <a:pt x="347" y="305"/>
                  <a:pt x="347" y="305"/>
                  <a:pt x="347" y="305"/>
                </a:cubicBezTo>
                <a:lnTo>
                  <a:pt x="432" y="305"/>
                </a:lnTo>
                <a:close/>
                <a:moveTo>
                  <a:pt x="452" y="464"/>
                </a:moveTo>
                <a:cubicBezTo>
                  <a:pt x="452" y="396"/>
                  <a:pt x="452" y="396"/>
                  <a:pt x="452" y="396"/>
                </a:cubicBezTo>
                <a:cubicBezTo>
                  <a:pt x="535" y="396"/>
                  <a:pt x="535" y="396"/>
                  <a:pt x="535" y="396"/>
                </a:cubicBezTo>
                <a:cubicBezTo>
                  <a:pt x="535" y="464"/>
                  <a:pt x="535" y="464"/>
                  <a:pt x="535" y="464"/>
                </a:cubicBezTo>
                <a:lnTo>
                  <a:pt x="452" y="464"/>
                </a:lnTo>
                <a:close/>
                <a:moveTo>
                  <a:pt x="452" y="376"/>
                </a:moveTo>
                <a:cubicBezTo>
                  <a:pt x="452" y="305"/>
                  <a:pt x="452" y="305"/>
                  <a:pt x="452" y="305"/>
                </a:cubicBezTo>
                <a:cubicBezTo>
                  <a:pt x="535" y="305"/>
                  <a:pt x="535" y="305"/>
                  <a:pt x="535" y="305"/>
                </a:cubicBezTo>
                <a:cubicBezTo>
                  <a:pt x="535" y="376"/>
                  <a:pt x="535" y="376"/>
                  <a:pt x="535" y="376"/>
                </a:cubicBezTo>
                <a:lnTo>
                  <a:pt x="452" y="376"/>
                </a:lnTo>
                <a:close/>
                <a:moveTo>
                  <a:pt x="452" y="285"/>
                </a:moveTo>
                <a:cubicBezTo>
                  <a:pt x="452" y="215"/>
                  <a:pt x="452" y="215"/>
                  <a:pt x="452" y="215"/>
                </a:cubicBezTo>
                <a:cubicBezTo>
                  <a:pt x="535" y="215"/>
                  <a:pt x="535" y="215"/>
                  <a:pt x="535" y="215"/>
                </a:cubicBezTo>
                <a:cubicBezTo>
                  <a:pt x="535" y="285"/>
                  <a:pt x="535" y="285"/>
                  <a:pt x="535" y="285"/>
                </a:cubicBezTo>
                <a:lnTo>
                  <a:pt x="452" y="285"/>
                </a:lnTo>
                <a:close/>
                <a:moveTo>
                  <a:pt x="452" y="195"/>
                </a:moveTo>
                <a:cubicBezTo>
                  <a:pt x="452" y="124"/>
                  <a:pt x="452" y="124"/>
                  <a:pt x="452" y="124"/>
                </a:cubicBezTo>
                <a:cubicBezTo>
                  <a:pt x="535" y="124"/>
                  <a:pt x="535" y="124"/>
                  <a:pt x="535" y="124"/>
                </a:cubicBezTo>
                <a:cubicBezTo>
                  <a:pt x="535" y="195"/>
                  <a:pt x="535" y="195"/>
                  <a:pt x="535" y="195"/>
                </a:cubicBezTo>
                <a:lnTo>
                  <a:pt x="452" y="195"/>
                </a:lnTo>
                <a:close/>
                <a:moveTo>
                  <a:pt x="535" y="35"/>
                </a:moveTo>
                <a:cubicBezTo>
                  <a:pt x="535" y="104"/>
                  <a:pt x="535" y="104"/>
                  <a:pt x="535" y="104"/>
                </a:cubicBezTo>
                <a:cubicBezTo>
                  <a:pt x="452" y="104"/>
                  <a:pt x="452" y="104"/>
                  <a:pt x="452" y="104"/>
                </a:cubicBezTo>
                <a:cubicBezTo>
                  <a:pt x="452" y="35"/>
                  <a:pt x="452" y="35"/>
                  <a:pt x="452" y="35"/>
                </a:cubicBezTo>
                <a:lnTo>
                  <a:pt x="535" y="35"/>
                </a:lnTo>
                <a:close/>
                <a:moveTo>
                  <a:pt x="432" y="35"/>
                </a:moveTo>
                <a:cubicBezTo>
                  <a:pt x="432" y="104"/>
                  <a:pt x="432" y="104"/>
                  <a:pt x="432" y="104"/>
                </a:cubicBezTo>
                <a:cubicBezTo>
                  <a:pt x="347" y="104"/>
                  <a:pt x="347" y="104"/>
                  <a:pt x="347" y="104"/>
                </a:cubicBezTo>
                <a:cubicBezTo>
                  <a:pt x="347" y="35"/>
                  <a:pt x="347" y="35"/>
                  <a:pt x="347" y="35"/>
                </a:cubicBezTo>
                <a:lnTo>
                  <a:pt x="432" y="35"/>
                </a:lnTo>
                <a:close/>
                <a:moveTo>
                  <a:pt x="327" y="35"/>
                </a:moveTo>
                <a:cubicBezTo>
                  <a:pt x="327" y="104"/>
                  <a:pt x="327" y="104"/>
                  <a:pt x="327" y="104"/>
                </a:cubicBezTo>
                <a:cubicBezTo>
                  <a:pt x="243" y="104"/>
                  <a:pt x="243" y="104"/>
                  <a:pt x="243" y="104"/>
                </a:cubicBezTo>
                <a:cubicBezTo>
                  <a:pt x="243" y="35"/>
                  <a:pt x="243" y="35"/>
                  <a:pt x="243" y="35"/>
                </a:cubicBezTo>
                <a:lnTo>
                  <a:pt x="327" y="35"/>
                </a:lnTo>
                <a:close/>
                <a:moveTo>
                  <a:pt x="223" y="35"/>
                </a:moveTo>
                <a:cubicBezTo>
                  <a:pt x="223" y="104"/>
                  <a:pt x="223" y="104"/>
                  <a:pt x="223" y="104"/>
                </a:cubicBezTo>
                <a:cubicBezTo>
                  <a:pt x="138" y="104"/>
                  <a:pt x="138" y="104"/>
                  <a:pt x="138" y="104"/>
                </a:cubicBezTo>
                <a:cubicBezTo>
                  <a:pt x="138" y="35"/>
                  <a:pt x="138" y="35"/>
                  <a:pt x="138" y="35"/>
                </a:cubicBezTo>
                <a:lnTo>
                  <a:pt x="223" y="35"/>
                </a:lnTo>
                <a:close/>
                <a:moveTo>
                  <a:pt x="118" y="104"/>
                </a:moveTo>
                <a:cubicBezTo>
                  <a:pt x="35" y="104"/>
                  <a:pt x="35" y="104"/>
                  <a:pt x="35" y="104"/>
                </a:cubicBezTo>
                <a:cubicBezTo>
                  <a:pt x="35" y="35"/>
                  <a:pt x="35" y="35"/>
                  <a:pt x="35" y="35"/>
                </a:cubicBezTo>
                <a:cubicBezTo>
                  <a:pt x="118" y="35"/>
                  <a:pt x="118" y="35"/>
                  <a:pt x="118" y="35"/>
                </a:cubicBezTo>
                <a:lnTo>
                  <a:pt x="118" y="104"/>
                </a:lnTo>
                <a:close/>
                <a:moveTo>
                  <a:pt x="118" y="124"/>
                </a:moveTo>
                <a:cubicBezTo>
                  <a:pt x="118" y="195"/>
                  <a:pt x="118" y="195"/>
                  <a:pt x="118" y="195"/>
                </a:cubicBezTo>
                <a:cubicBezTo>
                  <a:pt x="35" y="195"/>
                  <a:pt x="35" y="195"/>
                  <a:pt x="35" y="195"/>
                </a:cubicBezTo>
                <a:cubicBezTo>
                  <a:pt x="35" y="124"/>
                  <a:pt x="35" y="124"/>
                  <a:pt x="35" y="124"/>
                </a:cubicBezTo>
                <a:lnTo>
                  <a:pt x="118" y="124"/>
                </a:lnTo>
                <a:close/>
                <a:moveTo>
                  <a:pt x="118" y="215"/>
                </a:moveTo>
                <a:cubicBezTo>
                  <a:pt x="118" y="285"/>
                  <a:pt x="118" y="285"/>
                  <a:pt x="118" y="285"/>
                </a:cubicBezTo>
                <a:cubicBezTo>
                  <a:pt x="35" y="285"/>
                  <a:pt x="35" y="285"/>
                  <a:pt x="35" y="285"/>
                </a:cubicBezTo>
                <a:cubicBezTo>
                  <a:pt x="35" y="215"/>
                  <a:pt x="35" y="215"/>
                  <a:pt x="35" y="215"/>
                </a:cubicBezTo>
                <a:lnTo>
                  <a:pt x="118" y="215"/>
                </a:lnTo>
                <a:close/>
                <a:moveTo>
                  <a:pt x="118" y="305"/>
                </a:moveTo>
                <a:cubicBezTo>
                  <a:pt x="118" y="376"/>
                  <a:pt x="118" y="376"/>
                  <a:pt x="118" y="376"/>
                </a:cubicBezTo>
                <a:cubicBezTo>
                  <a:pt x="35" y="376"/>
                  <a:pt x="35" y="376"/>
                  <a:pt x="35" y="376"/>
                </a:cubicBezTo>
                <a:cubicBezTo>
                  <a:pt x="35" y="305"/>
                  <a:pt x="35" y="305"/>
                  <a:pt x="35" y="305"/>
                </a:cubicBezTo>
                <a:lnTo>
                  <a:pt x="118" y="305"/>
                </a:lnTo>
                <a:close/>
                <a:moveTo>
                  <a:pt x="118" y="396"/>
                </a:moveTo>
                <a:cubicBezTo>
                  <a:pt x="118" y="464"/>
                  <a:pt x="118" y="464"/>
                  <a:pt x="118" y="464"/>
                </a:cubicBezTo>
                <a:cubicBezTo>
                  <a:pt x="35" y="464"/>
                  <a:pt x="35" y="464"/>
                  <a:pt x="35" y="464"/>
                </a:cubicBezTo>
                <a:cubicBezTo>
                  <a:pt x="35" y="396"/>
                  <a:pt x="35" y="396"/>
                  <a:pt x="35" y="396"/>
                </a:cubicBezTo>
                <a:lnTo>
                  <a:pt x="118" y="396"/>
                </a:lnTo>
                <a:close/>
              </a:path>
            </a:pathLst>
          </a:custGeom>
          <a:solidFill>
            <a:schemeClr val="bg1"/>
          </a:solidFill>
          <a:ln>
            <a:noFill/>
          </a:ln>
        </p:spPr>
        <p:txBody>
          <a:bodyPr vert="horz" wrap="square" lIns="91427" tIns="45713" rIns="91427" bIns="45713" numCol="1" anchor="ctr" anchorCtr="0" compatLnSpc="1">
            <a:prstTxWarp prst="textNoShape">
              <a:avLst/>
            </a:prstTxWarp>
          </a:bodyPr>
          <a:lstStyle/>
          <a:p>
            <a:pPr algn="ctr"/>
            <a:endParaRPr lang="en-US" sz="1099" dirty="0">
              <a:solidFill>
                <a:srgbClr val="000000"/>
              </a:solidFill>
            </a:endParaRPr>
          </a:p>
        </p:txBody>
      </p:sp>
      <p:sp>
        <p:nvSpPr>
          <p:cNvPr id="97" name="Rectangle 96"/>
          <p:cNvSpPr/>
          <p:nvPr/>
        </p:nvSpPr>
        <p:spPr bwMode="auto">
          <a:xfrm>
            <a:off x="9629876" y="3762533"/>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1" compatLnSpc="1">
            <a:prstTxWarp prst="textNoShape">
              <a:avLst/>
            </a:prstTxWarp>
          </a:bodyPr>
          <a:lstStyle/>
          <a:p>
            <a:pPr algn="ctr" defTabSz="913923"/>
            <a:endParaRPr lang="en-US" dirty="0">
              <a:gradFill>
                <a:gsLst>
                  <a:gs pos="0">
                    <a:srgbClr val="FFFFFF"/>
                  </a:gs>
                  <a:gs pos="100000">
                    <a:srgbClr val="FFFFFF"/>
                  </a:gs>
                </a:gsLst>
                <a:lin ang="5400000" scaled="0"/>
              </a:gradFill>
              <a:latin typeface="Segoe UI Light" pitchFamily="34" charset="0"/>
            </a:endParaRPr>
          </a:p>
        </p:txBody>
      </p:sp>
      <p:sp>
        <p:nvSpPr>
          <p:cNvPr id="98" name="Freeform 16"/>
          <p:cNvSpPr>
            <a:spLocks noEditPoints="1"/>
          </p:cNvSpPr>
          <p:nvPr/>
        </p:nvSpPr>
        <p:spPr bwMode="auto">
          <a:xfrm>
            <a:off x="9726898" y="4175563"/>
            <a:ext cx="711984" cy="363487"/>
          </a:xfrm>
          <a:custGeom>
            <a:avLst/>
            <a:gdLst>
              <a:gd name="T0" fmla="*/ 558 w 570"/>
              <a:gd name="T1" fmla="*/ 0 h 278"/>
              <a:gd name="T2" fmla="*/ 12 w 570"/>
              <a:gd name="T3" fmla="*/ 0 h 278"/>
              <a:gd name="T4" fmla="*/ 0 w 570"/>
              <a:gd name="T5" fmla="*/ 12 h 278"/>
              <a:gd name="T6" fmla="*/ 0 w 570"/>
              <a:gd name="T7" fmla="*/ 266 h 278"/>
              <a:gd name="T8" fmla="*/ 12 w 570"/>
              <a:gd name="T9" fmla="*/ 278 h 278"/>
              <a:gd name="T10" fmla="*/ 558 w 570"/>
              <a:gd name="T11" fmla="*/ 278 h 278"/>
              <a:gd name="T12" fmla="*/ 570 w 570"/>
              <a:gd name="T13" fmla="*/ 266 h 278"/>
              <a:gd name="T14" fmla="*/ 570 w 570"/>
              <a:gd name="T15" fmla="*/ 12 h 278"/>
              <a:gd name="T16" fmla="*/ 558 w 570"/>
              <a:gd name="T17" fmla="*/ 0 h 278"/>
              <a:gd name="T18" fmla="*/ 119 w 570"/>
              <a:gd name="T19" fmla="*/ 243 h 278"/>
              <a:gd name="T20" fmla="*/ 36 w 570"/>
              <a:gd name="T21" fmla="*/ 243 h 278"/>
              <a:gd name="T22" fmla="*/ 36 w 570"/>
              <a:gd name="T23" fmla="*/ 36 h 278"/>
              <a:gd name="T24" fmla="*/ 119 w 570"/>
              <a:gd name="T25" fmla="*/ 36 h 278"/>
              <a:gd name="T26" fmla="*/ 119 w 570"/>
              <a:gd name="T27" fmla="*/ 243 h 278"/>
              <a:gd name="T28" fmla="*/ 223 w 570"/>
              <a:gd name="T29" fmla="*/ 243 h 278"/>
              <a:gd name="T30" fmla="*/ 139 w 570"/>
              <a:gd name="T31" fmla="*/ 243 h 278"/>
              <a:gd name="T32" fmla="*/ 139 w 570"/>
              <a:gd name="T33" fmla="*/ 36 h 278"/>
              <a:gd name="T34" fmla="*/ 223 w 570"/>
              <a:gd name="T35" fmla="*/ 36 h 278"/>
              <a:gd name="T36" fmla="*/ 223 w 570"/>
              <a:gd name="T37" fmla="*/ 243 h 278"/>
              <a:gd name="T38" fmla="*/ 328 w 570"/>
              <a:gd name="T39" fmla="*/ 243 h 278"/>
              <a:gd name="T40" fmla="*/ 243 w 570"/>
              <a:gd name="T41" fmla="*/ 243 h 278"/>
              <a:gd name="T42" fmla="*/ 243 w 570"/>
              <a:gd name="T43" fmla="*/ 36 h 278"/>
              <a:gd name="T44" fmla="*/ 328 w 570"/>
              <a:gd name="T45" fmla="*/ 36 h 278"/>
              <a:gd name="T46" fmla="*/ 328 w 570"/>
              <a:gd name="T47" fmla="*/ 243 h 278"/>
              <a:gd name="T48" fmla="*/ 433 w 570"/>
              <a:gd name="T49" fmla="*/ 243 h 278"/>
              <a:gd name="T50" fmla="*/ 348 w 570"/>
              <a:gd name="T51" fmla="*/ 243 h 278"/>
              <a:gd name="T52" fmla="*/ 348 w 570"/>
              <a:gd name="T53" fmla="*/ 36 h 278"/>
              <a:gd name="T54" fmla="*/ 433 w 570"/>
              <a:gd name="T55" fmla="*/ 36 h 278"/>
              <a:gd name="T56" fmla="*/ 433 w 570"/>
              <a:gd name="T57" fmla="*/ 243 h 278"/>
              <a:gd name="T58" fmla="*/ 536 w 570"/>
              <a:gd name="T59" fmla="*/ 243 h 278"/>
              <a:gd name="T60" fmla="*/ 453 w 570"/>
              <a:gd name="T61" fmla="*/ 243 h 278"/>
              <a:gd name="T62" fmla="*/ 453 w 570"/>
              <a:gd name="T63" fmla="*/ 36 h 278"/>
              <a:gd name="T64" fmla="*/ 536 w 570"/>
              <a:gd name="T65" fmla="*/ 36 h 278"/>
              <a:gd name="T66" fmla="*/ 536 w 570"/>
              <a:gd name="T67" fmla="*/ 2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278">
                <a:moveTo>
                  <a:pt x="558" y="0"/>
                </a:moveTo>
                <a:cubicBezTo>
                  <a:pt x="12" y="0"/>
                  <a:pt x="12" y="0"/>
                  <a:pt x="12" y="0"/>
                </a:cubicBezTo>
                <a:cubicBezTo>
                  <a:pt x="6" y="0"/>
                  <a:pt x="0" y="6"/>
                  <a:pt x="0" y="12"/>
                </a:cubicBezTo>
                <a:cubicBezTo>
                  <a:pt x="0" y="266"/>
                  <a:pt x="0" y="266"/>
                  <a:pt x="0" y="266"/>
                </a:cubicBezTo>
                <a:cubicBezTo>
                  <a:pt x="0" y="272"/>
                  <a:pt x="6" y="278"/>
                  <a:pt x="12" y="278"/>
                </a:cubicBezTo>
                <a:cubicBezTo>
                  <a:pt x="558" y="278"/>
                  <a:pt x="558" y="278"/>
                  <a:pt x="558" y="278"/>
                </a:cubicBezTo>
                <a:cubicBezTo>
                  <a:pt x="565" y="278"/>
                  <a:pt x="570" y="272"/>
                  <a:pt x="570" y="266"/>
                </a:cubicBezTo>
                <a:cubicBezTo>
                  <a:pt x="570" y="12"/>
                  <a:pt x="570" y="12"/>
                  <a:pt x="570" y="12"/>
                </a:cubicBezTo>
                <a:cubicBezTo>
                  <a:pt x="570" y="6"/>
                  <a:pt x="565" y="0"/>
                  <a:pt x="558" y="0"/>
                </a:cubicBezTo>
                <a:close/>
                <a:moveTo>
                  <a:pt x="119" y="243"/>
                </a:moveTo>
                <a:cubicBezTo>
                  <a:pt x="36" y="243"/>
                  <a:pt x="36" y="243"/>
                  <a:pt x="36" y="243"/>
                </a:cubicBezTo>
                <a:cubicBezTo>
                  <a:pt x="36" y="36"/>
                  <a:pt x="36" y="36"/>
                  <a:pt x="36" y="36"/>
                </a:cubicBezTo>
                <a:cubicBezTo>
                  <a:pt x="119" y="36"/>
                  <a:pt x="119" y="36"/>
                  <a:pt x="119" y="36"/>
                </a:cubicBezTo>
                <a:lnTo>
                  <a:pt x="119" y="243"/>
                </a:lnTo>
                <a:close/>
                <a:moveTo>
                  <a:pt x="223" y="243"/>
                </a:moveTo>
                <a:cubicBezTo>
                  <a:pt x="139" y="243"/>
                  <a:pt x="139" y="243"/>
                  <a:pt x="139" y="243"/>
                </a:cubicBezTo>
                <a:cubicBezTo>
                  <a:pt x="139" y="36"/>
                  <a:pt x="139" y="36"/>
                  <a:pt x="139" y="36"/>
                </a:cubicBezTo>
                <a:cubicBezTo>
                  <a:pt x="223" y="36"/>
                  <a:pt x="223" y="36"/>
                  <a:pt x="223" y="36"/>
                </a:cubicBezTo>
                <a:lnTo>
                  <a:pt x="223" y="243"/>
                </a:lnTo>
                <a:close/>
                <a:moveTo>
                  <a:pt x="328" y="243"/>
                </a:moveTo>
                <a:cubicBezTo>
                  <a:pt x="243" y="243"/>
                  <a:pt x="243" y="243"/>
                  <a:pt x="243" y="243"/>
                </a:cubicBezTo>
                <a:cubicBezTo>
                  <a:pt x="243" y="36"/>
                  <a:pt x="243" y="36"/>
                  <a:pt x="243" y="36"/>
                </a:cubicBezTo>
                <a:cubicBezTo>
                  <a:pt x="328" y="36"/>
                  <a:pt x="328" y="36"/>
                  <a:pt x="328" y="36"/>
                </a:cubicBezTo>
                <a:lnTo>
                  <a:pt x="328" y="243"/>
                </a:lnTo>
                <a:close/>
                <a:moveTo>
                  <a:pt x="433" y="243"/>
                </a:moveTo>
                <a:cubicBezTo>
                  <a:pt x="348" y="243"/>
                  <a:pt x="348" y="243"/>
                  <a:pt x="348" y="243"/>
                </a:cubicBezTo>
                <a:cubicBezTo>
                  <a:pt x="348" y="36"/>
                  <a:pt x="348" y="36"/>
                  <a:pt x="348" y="36"/>
                </a:cubicBezTo>
                <a:cubicBezTo>
                  <a:pt x="433" y="36"/>
                  <a:pt x="433" y="36"/>
                  <a:pt x="433" y="36"/>
                </a:cubicBezTo>
                <a:lnTo>
                  <a:pt x="433" y="243"/>
                </a:lnTo>
                <a:close/>
                <a:moveTo>
                  <a:pt x="536" y="243"/>
                </a:moveTo>
                <a:cubicBezTo>
                  <a:pt x="453" y="243"/>
                  <a:pt x="453" y="243"/>
                  <a:pt x="453" y="243"/>
                </a:cubicBezTo>
                <a:cubicBezTo>
                  <a:pt x="453" y="36"/>
                  <a:pt x="453" y="36"/>
                  <a:pt x="453" y="36"/>
                </a:cubicBezTo>
                <a:cubicBezTo>
                  <a:pt x="536" y="36"/>
                  <a:pt x="536" y="36"/>
                  <a:pt x="536" y="36"/>
                </a:cubicBezTo>
                <a:lnTo>
                  <a:pt x="536" y="243"/>
                </a:lnTo>
                <a:close/>
              </a:path>
            </a:pathLst>
          </a:custGeom>
          <a:solidFill>
            <a:schemeClr val="bg1"/>
          </a:solidFill>
          <a:ln>
            <a:noFill/>
          </a:ln>
        </p:spPr>
        <p:txBody>
          <a:bodyPr vert="horz" wrap="square" lIns="91427" tIns="45713" rIns="91427" bIns="45713" numCol="1" anchor="ctr" anchorCtr="0" compatLnSpc="1">
            <a:prstTxWarp prst="textNoShape">
              <a:avLst/>
            </a:prstTxWarp>
          </a:bodyPr>
          <a:lstStyle/>
          <a:p>
            <a:pPr algn="ctr"/>
            <a:endParaRPr lang="en-US" sz="1099" dirty="0">
              <a:solidFill>
                <a:srgbClr val="000000"/>
              </a:solidFill>
            </a:endParaRPr>
          </a:p>
        </p:txBody>
      </p:sp>
      <p:sp>
        <p:nvSpPr>
          <p:cNvPr id="100" name="Rectangle 99"/>
          <p:cNvSpPr/>
          <p:nvPr/>
        </p:nvSpPr>
        <p:spPr bwMode="auto">
          <a:xfrm>
            <a:off x="6422028" y="3791248"/>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0" compatLnSpc="1">
            <a:prstTxWarp prst="textNoShape">
              <a:avLst/>
            </a:prstTxWarp>
          </a:bodyPr>
          <a:lstStyle/>
          <a:p>
            <a:pPr algn="ctr" defTabSz="913923"/>
            <a:endParaRPr lang="en-US" sz="1599" dirty="0">
              <a:gradFill>
                <a:gsLst>
                  <a:gs pos="0">
                    <a:srgbClr val="FFFFFF"/>
                  </a:gs>
                  <a:gs pos="100000">
                    <a:srgbClr val="FFFFFF"/>
                  </a:gs>
                </a:gsLst>
                <a:lin ang="5400000" scaled="0"/>
              </a:gradFill>
              <a:latin typeface="Segoe UI Light" pitchFamily="34" charset="0"/>
            </a:endParaRPr>
          </a:p>
        </p:txBody>
      </p:sp>
      <p:sp>
        <p:nvSpPr>
          <p:cNvPr id="101" name="Freeform 100"/>
          <p:cNvSpPr>
            <a:spLocks noEditPoints="1"/>
          </p:cNvSpPr>
          <p:nvPr/>
        </p:nvSpPr>
        <p:spPr bwMode="auto">
          <a:xfrm>
            <a:off x="6668186" y="4123009"/>
            <a:ext cx="577297" cy="41604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27" tIns="45713" rIns="91427" bIns="45713" numCol="1" anchor="ctr" anchorCtr="0" compatLnSpc="1">
            <a:prstTxWarp prst="textNoShape">
              <a:avLst/>
            </a:prstTxWarp>
          </a:bodyPr>
          <a:lstStyle/>
          <a:p>
            <a:pPr algn="ctr"/>
            <a:endParaRPr lang="en-US" sz="1099" dirty="0">
              <a:solidFill>
                <a:srgbClr val="000000"/>
              </a:solidFill>
            </a:endParaRPr>
          </a:p>
        </p:txBody>
      </p:sp>
      <p:sp>
        <p:nvSpPr>
          <p:cNvPr id="103" name="Rectangle 102"/>
          <p:cNvSpPr/>
          <p:nvPr/>
        </p:nvSpPr>
        <p:spPr bwMode="auto">
          <a:xfrm>
            <a:off x="7487845" y="3791248"/>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0" compatLnSpc="1">
            <a:prstTxWarp prst="textNoShape">
              <a:avLst/>
            </a:prstTxWarp>
          </a:bodyPr>
          <a:lstStyle/>
          <a:p>
            <a:pPr algn="ctr" defTabSz="913923"/>
            <a:endParaRPr lang="en-US" dirty="0">
              <a:gradFill>
                <a:gsLst>
                  <a:gs pos="0">
                    <a:srgbClr val="FFFFFF"/>
                  </a:gs>
                  <a:gs pos="100000">
                    <a:srgbClr val="FFFFFF"/>
                  </a:gs>
                </a:gsLst>
                <a:lin ang="5400000" scaled="0"/>
              </a:gradFill>
              <a:latin typeface="Segoe UI Light" pitchFamily="34" charset="0"/>
            </a:endParaRPr>
          </a:p>
        </p:txBody>
      </p:sp>
      <p:sp>
        <p:nvSpPr>
          <p:cNvPr id="104" name="Freeform 79"/>
          <p:cNvSpPr>
            <a:spLocks noEditPoints="1"/>
          </p:cNvSpPr>
          <p:nvPr/>
        </p:nvSpPr>
        <p:spPr bwMode="black">
          <a:xfrm>
            <a:off x="7834055" y="4095241"/>
            <a:ext cx="374153" cy="45161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3" tIns="41147" rIns="82293" bIns="41147" numCol="1" anchor="ctr" anchorCtr="0" compatLnSpc="1">
            <a:prstTxWarp prst="textNoShape">
              <a:avLst/>
            </a:prstTxWarp>
          </a:bodyPr>
          <a:lstStyle/>
          <a:p>
            <a:pPr algn="ctr"/>
            <a:endParaRPr lang="en-US" sz="1049" dirty="0">
              <a:solidFill>
                <a:srgbClr val="000000"/>
              </a:solidFill>
            </a:endParaRPr>
          </a:p>
        </p:txBody>
      </p:sp>
      <p:sp>
        <p:nvSpPr>
          <p:cNvPr id="107" name="TextBox 106"/>
          <p:cNvSpPr txBox="1"/>
          <p:nvPr/>
        </p:nvSpPr>
        <p:spPr>
          <a:xfrm>
            <a:off x="7500478" y="3564801"/>
            <a:ext cx="2308928" cy="544688"/>
          </a:xfrm>
          <a:prstGeom prst="rect">
            <a:avLst/>
          </a:prstGeom>
          <a:noFill/>
        </p:spPr>
        <p:txBody>
          <a:bodyPr wrap="square" lIns="182854" tIns="146283" rIns="182854" bIns="146283" rtlCol="0">
            <a:spAutoFit/>
          </a:bodyPr>
          <a:lstStyle/>
          <a:p>
            <a:pPr>
              <a:lnSpc>
                <a:spcPct val="90000"/>
              </a:lnSpc>
              <a:spcAft>
                <a:spcPts val="600"/>
              </a:spcAft>
            </a:pPr>
            <a:r>
              <a:rPr lang="en-US" dirty="0">
                <a:solidFill>
                  <a:srgbClr val="FFFFFF"/>
                </a:solidFill>
              </a:rPr>
              <a:t>Azure Storage</a:t>
            </a:r>
          </a:p>
        </p:txBody>
      </p:sp>
      <p:sp>
        <p:nvSpPr>
          <p:cNvPr id="108" name="Rectangle 107"/>
          <p:cNvSpPr/>
          <p:nvPr/>
        </p:nvSpPr>
        <p:spPr bwMode="auto">
          <a:xfrm>
            <a:off x="8825149" y="2772733"/>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HDInsight</a:t>
            </a:r>
          </a:p>
        </p:txBody>
      </p:sp>
      <p:pic>
        <p:nvPicPr>
          <p:cNvPr id="109" name="Picture 20" descr="C:\Users\Justin\Desktop\_Work_in_Progress\_MS\1444\hadoop rev.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84722" y="2993742"/>
            <a:ext cx="494603" cy="378758"/>
          </a:xfrm>
          <a:prstGeom prst="rect">
            <a:avLst/>
          </a:prstGeom>
          <a:solidFill>
            <a:srgbClr val="0078D7"/>
          </a:solidFill>
          <a:ln>
            <a:noFill/>
          </a:ln>
          <a:effectLst>
            <a:outerShdw blurRad="107950" dist="12700" dir="5400000" algn="ctr">
              <a:srgbClr val="000000"/>
            </a:outerShdw>
          </a:effectLst>
          <a:extLst/>
        </p:spPr>
      </p:pic>
      <p:sp>
        <p:nvSpPr>
          <p:cNvPr id="112" name="Rectangle 111"/>
          <p:cNvSpPr/>
          <p:nvPr/>
        </p:nvSpPr>
        <p:spPr bwMode="auto">
          <a:xfrm>
            <a:off x="7751239" y="2762872"/>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sp>
        <p:nvSpPr>
          <p:cNvPr id="116" name="Rectangle 115"/>
          <p:cNvSpPr/>
          <p:nvPr/>
        </p:nvSpPr>
        <p:spPr bwMode="auto">
          <a:xfrm>
            <a:off x="7751239" y="206594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14" name="Picture 11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802504" y="2971652"/>
            <a:ext cx="895185" cy="348128"/>
          </a:xfrm>
          <a:prstGeom prst="rect">
            <a:avLst/>
          </a:prstGeom>
        </p:spPr>
      </p:pic>
      <p:pic>
        <p:nvPicPr>
          <p:cNvPr id="115" name="Picture 114"/>
          <p:cNvPicPr>
            <a:picLocks noChangeAspect="1"/>
          </p:cNvPicPr>
          <p:nvPr/>
        </p:nvPicPr>
        <p:blipFill>
          <a:blip r:embed="rId5">
            <a:clrChange>
              <a:clrFrom>
                <a:srgbClr val="FFFFFF"/>
              </a:clrFrom>
              <a:clrTo>
                <a:srgbClr val="FFFFFF">
                  <a:alpha val="0"/>
                </a:srgbClr>
              </a:clrTo>
            </a:clrChange>
          </a:blip>
          <a:stretch>
            <a:fillRect/>
          </a:stretch>
        </p:blipFill>
        <p:spPr>
          <a:xfrm>
            <a:off x="7801445" y="2283254"/>
            <a:ext cx="897304" cy="164580"/>
          </a:xfrm>
          <a:prstGeom prst="rect">
            <a:avLst/>
          </a:prstGeom>
        </p:spPr>
      </p:pic>
      <p:sp>
        <p:nvSpPr>
          <p:cNvPr id="117" name="Rectangle 116"/>
          <p:cNvSpPr/>
          <p:nvPr/>
        </p:nvSpPr>
        <p:spPr bwMode="auto">
          <a:xfrm>
            <a:off x="6724781" y="206594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18" name="Picture 4" descr="http://upload.wikimedia.org/wikipedia/en/thumb/e/eb/MongoDB_Logo.png/640px-MongoDB_Logo.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769335" y="2185359"/>
            <a:ext cx="870167" cy="255611"/>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p:cNvSpPr/>
          <p:nvPr/>
        </p:nvSpPr>
        <p:spPr bwMode="auto">
          <a:xfrm>
            <a:off x="6724781" y="2772732"/>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1" name="Picture 120"/>
          <p:cNvPicPr>
            <a:picLocks noChangeAspect="1"/>
          </p:cNvPicPr>
          <p:nvPr/>
        </p:nvPicPr>
        <p:blipFill>
          <a:blip r:embed="rId7">
            <a:clrChange>
              <a:clrFrom>
                <a:srgbClr val="FFFFFF"/>
              </a:clrFrom>
              <a:clrTo>
                <a:srgbClr val="FFFFFF">
                  <a:alpha val="0"/>
                </a:srgbClr>
              </a:clrTo>
            </a:clrChange>
          </a:blip>
          <a:stretch>
            <a:fillRect/>
          </a:stretch>
        </p:blipFill>
        <p:spPr>
          <a:xfrm>
            <a:off x="6804270" y="3018456"/>
            <a:ext cx="885751" cy="182887"/>
          </a:xfrm>
          <a:prstGeom prst="rect">
            <a:avLst/>
          </a:prstGeom>
        </p:spPr>
      </p:pic>
      <p:sp>
        <p:nvSpPr>
          <p:cNvPr id="125" name="Rectangle 124"/>
          <p:cNvSpPr/>
          <p:nvPr/>
        </p:nvSpPr>
        <p:spPr bwMode="auto">
          <a:xfrm>
            <a:off x="7746412" y="1366448"/>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4" name="Picture 123"/>
          <p:cNvPicPr>
            <a:picLocks noChangeAspect="1"/>
          </p:cNvPicPr>
          <p:nvPr/>
        </p:nvPicPr>
        <p:blipFill rotWithShape="1">
          <a:blip r:embed="rId8" cstate="email">
            <a:extLst>
              <a:ext uri="{28A0092B-C50C-407E-A947-70E740481C1C}">
                <a14:useLocalDpi xmlns:a14="http://schemas.microsoft.com/office/drawing/2010/main" val="0"/>
              </a:ext>
            </a:extLst>
          </a:blip>
          <a:srcRect l="16037" t="22218" r="15392" b="30953"/>
          <a:stretch/>
        </p:blipFill>
        <p:spPr>
          <a:xfrm>
            <a:off x="7825378" y="1523145"/>
            <a:ext cx="797172" cy="318869"/>
          </a:xfrm>
          <a:prstGeom prst="rect">
            <a:avLst/>
          </a:prstGeom>
        </p:spPr>
      </p:pic>
      <p:sp>
        <p:nvSpPr>
          <p:cNvPr id="126" name="Rectangle 125"/>
          <p:cNvSpPr/>
          <p:nvPr/>
        </p:nvSpPr>
        <p:spPr bwMode="auto">
          <a:xfrm>
            <a:off x="6724781" y="137233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2" name="Picture 121"/>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29835" y="1600015"/>
            <a:ext cx="921526" cy="201467"/>
          </a:xfrm>
          <a:prstGeom prst="rect">
            <a:avLst/>
          </a:prstGeom>
        </p:spPr>
      </p:pic>
      <p:sp>
        <p:nvSpPr>
          <p:cNvPr id="127" name="Rectangle 126"/>
          <p:cNvSpPr/>
          <p:nvPr/>
        </p:nvSpPr>
        <p:spPr bwMode="auto">
          <a:xfrm>
            <a:off x="5684114" y="2762872"/>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3" name="Picture 8" descr="https://www.percona.com/live/mysql-conference-2013/sites/default/files/clearDB.png"/>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5673519" y="2908757"/>
            <a:ext cx="962716" cy="361019"/>
          </a:xfrm>
          <a:prstGeom prst="rect">
            <a:avLst/>
          </a:prstGeom>
          <a:noFill/>
          <a:extLst>
            <a:ext uri="{909E8E84-426E-40DD-AFC4-6F175D3DCCD1}">
              <a14:hiddenFill xmlns:a14="http://schemas.microsoft.com/office/drawing/2010/main">
                <a:solidFill>
                  <a:srgbClr val="FFFFFF"/>
                </a:solidFill>
              </a14:hiddenFill>
            </a:ext>
          </a:extLst>
        </p:spPr>
      </p:pic>
      <p:sp>
        <p:nvSpPr>
          <p:cNvPr id="128" name="Rectangle 127"/>
          <p:cNvSpPr/>
          <p:nvPr/>
        </p:nvSpPr>
        <p:spPr bwMode="auto">
          <a:xfrm>
            <a:off x="8825149" y="2037181"/>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Data Factory</a:t>
            </a:r>
          </a:p>
        </p:txBody>
      </p:sp>
      <p:pic>
        <p:nvPicPr>
          <p:cNvPr id="129" name="Picture 128"/>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9084723" y="2278102"/>
            <a:ext cx="383186" cy="383186"/>
          </a:xfrm>
          <a:prstGeom prst="rect">
            <a:avLst/>
          </a:prstGeom>
        </p:spPr>
      </p:pic>
      <p:sp>
        <p:nvSpPr>
          <p:cNvPr id="130" name="Rectangle 129"/>
          <p:cNvSpPr/>
          <p:nvPr/>
        </p:nvSpPr>
        <p:spPr bwMode="auto">
          <a:xfrm>
            <a:off x="8825149" y="1344446"/>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ML</a:t>
            </a:r>
          </a:p>
        </p:txBody>
      </p:sp>
      <p:pic>
        <p:nvPicPr>
          <p:cNvPr id="131" name="Picture 130"/>
          <p:cNvPicPr>
            <a:picLocks noChangeAspect="1"/>
          </p:cNvPicPr>
          <p:nvPr/>
        </p:nvPicPr>
        <p:blipFill rotWithShape="1">
          <a:blip r:embed="rId12">
            <a:extLst>
              <a:ext uri="{28A0092B-C50C-407E-A947-70E740481C1C}">
                <a14:useLocalDpi xmlns:a14="http://schemas.microsoft.com/office/drawing/2010/main" val="0"/>
              </a:ext>
            </a:extLst>
          </a:blip>
          <a:srcRect l="7901" t="25004" r="72963" b="33335"/>
          <a:stretch/>
        </p:blipFill>
        <p:spPr>
          <a:xfrm>
            <a:off x="9124061" y="1564853"/>
            <a:ext cx="380946" cy="380946"/>
          </a:xfrm>
          <a:prstGeom prst="rect">
            <a:avLst/>
          </a:prstGeom>
        </p:spPr>
      </p:pic>
      <p:sp>
        <p:nvSpPr>
          <p:cNvPr id="132" name="Rectangle 131"/>
          <p:cNvSpPr/>
          <p:nvPr/>
        </p:nvSpPr>
        <p:spPr bwMode="auto">
          <a:xfrm>
            <a:off x="9799130" y="2759054"/>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Stream Analytics</a:t>
            </a:r>
          </a:p>
        </p:txBody>
      </p:sp>
      <p:pic>
        <p:nvPicPr>
          <p:cNvPr id="133" name="Picture 132"/>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10015705" y="3068881"/>
            <a:ext cx="634789" cy="370294"/>
          </a:xfrm>
          <a:prstGeom prst="rect">
            <a:avLst/>
          </a:prstGeom>
        </p:spPr>
      </p:pic>
      <p:sp>
        <p:nvSpPr>
          <p:cNvPr id="135" name="Rectangle 134"/>
          <p:cNvSpPr/>
          <p:nvPr/>
        </p:nvSpPr>
        <p:spPr bwMode="auto">
          <a:xfrm>
            <a:off x="10839122" y="2037181"/>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Database</a:t>
            </a:r>
          </a:p>
        </p:txBody>
      </p:sp>
      <p:sp>
        <p:nvSpPr>
          <p:cNvPr id="136" name="Rectangle 135"/>
          <p:cNvSpPr/>
          <p:nvPr/>
        </p:nvSpPr>
        <p:spPr bwMode="auto">
          <a:xfrm>
            <a:off x="10839122" y="2742905"/>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DocumentDB</a:t>
            </a:r>
          </a:p>
        </p:txBody>
      </p:sp>
      <p:pic>
        <p:nvPicPr>
          <p:cNvPr id="137" name="Picture 13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05662" y="2987958"/>
            <a:ext cx="369630" cy="369630"/>
          </a:xfrm>
          <a:prstGeom prst="rect">
            <a:avLst/>
          </a:prstGeom>
          <a:solidFill>
            <a:schemeClr val="bg1"/>
          </a:solidFill>
        </p:spPr>
      </p:pic>
      <p:pic>
        <p:nvPicPr>
          <p:cNvPr id="138" name="Picture 13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142468" y="2241155"/>
            <a:ext cx="423992" cy="423992"/>
          </a:xfrm>
          <a:prstGeom prst="rect">
            <a:avLst/>
          </a:prstGeom>
          <a:solidFill>
            <a:schemeClr val="bg1"/>
          </a:solidFill>
        </p:spPr>
      </p:pic>
      <p:sp>
        <p:nvSpPr>
          <p:cNvPr id="139" name="Rectangle 138"/>
          <p:cNvSpPr/>
          <p:nvPr/>
        </p:nvSpPr>
        <p:spPr bwMode="auto">
          <a:xfrm>
            <a:off x="9842022" y="1343860"/>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Search</a:t>
            </a:r>
          </a:p>
        </p:txBody>
      </p:sp>
      <p:pic>
        <p:nvPicPr>
          <p:cNvPr id="140" name="Picture 139"/>
          <p:cNvPicPr>
            <a:picLocks noChangeAspect="1"/>
          </p:cNvPicPr>
          <p:nvPr/>
        </p:nvPicPr>
        <p:blipFill>
          <a:blip r:embed="rId16"/>
          <a:stretch>
            <a:fillRect/>
          </a:stretch>
        </p:blipFill>
        <p:spPr>
          <a:xfrm>
            <a:off x="10093564" y="1547935"/>
            <a:ext cx="543648" cy="425253"/>
          </a:xfrm>
          <a:prstGeom prst="rect">
            <a:avLst/>
          </a:prstGeom>
        </p:spPr>
      </p:pic>
      <p:sp>
        <p:nvSpPr>
          <p:cNvPr id="141" name="Rectangle 140"/>
          <p:cNvSpPr/>
          <p:nvPr/>
        </p:nvSpPr>
        <p:spPr bwMode="auto">
          <a:xfrm>
            <a:off x="7730627" y="65947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44" name="Picture 143"/>
          <p:cNvPicPr>
            <a:picLocks noChangeAspect="1"/>
          </p:cNvPicPr>
          <p:nvPr/>
        </p:nvPicPr>
        <p:blipFill rotWithShape="1">
          <a:blip r:embed="rId17" cstate="email">
            <a:extLst>
              <a:ext uri="{28A0092B-C50C-407E-A947-70E740481C1C}">
                <a14:useLocalDpi xmlns:a14="http://schemas.microsoft.com/office/drawing/2010/main" val="0"/>
              </a:ext>
            </a:extLst>
          </a:blip>
          <a:srcRect l="25200" t="15343" b="6678"/>
          <a:stretch/>
        </p:blipFill>
        <p:spPr>
          <a:xfrm>
            <a:off x="7775646" y="852387"/>
            <a:ext cx="846905" cy="244562"/>
          </a:xfrm>
          <a:prstGeom prst="rect">
            <a:avLst/>
          </a:prstGeom>
        </p:spPr>
      </p:pic>
      <p:sp>
        <p:nvSpPr>
          <p:cNvPr id="145" name="Freeform 5"/>
          <p:cNvSpPr>
            <a:spLocks/>
          </p:cNvSpPr>
          <p:nvPr/>
        </p:nvSpPr>
        <p:spPr bwMode="auto">
          <a:xfrm flipH="1">
            <a:off x="1815848" y="4290891"/>
            <a:ext cx="2720610" cy="2131959"/>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3 h 629"/>
              <a:gd name="T12" fmla="*/ 21 w 628"/>
              <a:gd name="T13" fmla="*/ 83 h 629"/>
              <a:gd name="T14" fmla="*/ 21 w 628"/>
              <a:gd name="T15" fmla="*/ 629 h 629"/>
              <a:gd name="T16" fmla="*/ 607 w 628"/>
              <a:gd name="T17" fmla="*/ 629 h 629"/>
              <a:gd name="T18" fmla="*/ 607 w 628"/>
              <a:gd name="T19" fmla="*/ 83 h 629"/>
              <a:gd name="T20" fmla="*/ 628 w 628"/>
              <a:gd name="T21" fmla="*/ 83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3"/>
                </a:lnTo>
                <a:lnTo>
                  <a:pt x="21" y="83"/>
                </a:lnTo>
                <a:lnTo>
                  <a:pt x="21" y="629"/>
                </a:lnTo>
                <a:lnTo>
                  <a:pt x="607" y="629"/>
                </a:lnTo>
                <a:lnTo>
                  <a:pt x="607" y="83"/>
                </a:lnTo>
                <a:lnTo>
                  <a:pt x="628" y="83"/>
                </a:lnTo>
                <a:lnTo>
                  <a:pt x="628" y="66"/>
                </a:lnTo>
                <a:lnTo>
                  <a:pt x="251" y="66"/>
                </a:lnTo>
                <a:close/>
              </a:path>
            </a:pathLst>
          </a:custGeom>
          <a:solidFill>
            <a:srgbClr val="E8E8E8"/>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46" name="Freeform 5"/>
          <p:cNvSpPr>
            <a:spLocks/>
          </p:cNvSpPr>
          <p:nvPr/>
        </p:nvSpPr>
        <p:spPr bwMode="auto">
          <a:xfrm>
            <a:off x="373235" y="3697908"/>
            <a:ext cx="2876570" cy="272494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3 h 629"/>
              <a:gd name="T12" fmla="*/ 21 w 628"/>
              <a:gd name="T13" fmla="*/ 83 h 629"/>
              <a:gd name="T14" fmla="*/ 21 w 628"/>
              <a:gd name="T15" fmla="*/ 629 h 629"/>
              <a:gd name="T16" fmla="*/ 607 w 628"/>
              <a:gd name="T17" fmla="*/ 629 h 629"/>
              <a:gd name="T18" fmla="*/ 607 w 628"/>
              <a:gd name="T19" fmla="*/ 83 h 629"/>
              <a:gd name="T20" fmla="*/ 628 w 628"/>
              <a:gd name="T21" fmla="*/ 83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3"/>
                </a:lnTo>
                <a:lnTo>
                  <a:pt x="21" y="83"/>
                </a:lnTo>
                <a:lnTo>
                  <a:pt x="21" y="629"/>
                </a:lnTo>
                <a:lnTo>
                  <a:pt x="607" y="629"/>
                </a:lnTo>
                <a:lnTo>
                  <a:pt x="607" y="83"/>
                </a:lnTo>
                <a:lnTo>
                  <a:pt x="628" y="83"/>
                </a:lnTo>
                <a:lnTo>
                  <a:pt x="628" y="66"/>
                </a:lnTo>
                <a:lnTo>
                  <a:pt x="251" y="66"/>
                </a:lnTo>
                <a:close/>
              </a:path>
            </a:pathLst>
          </a:custGeom>
          <a:solidFill>
            <a:srgbClr val="E8E8E8"/>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nvGrpSpPr>
          <p:cNvPr id="147" name="Group 146"/>
          <p:cNvGrpSpPr/>
          <p:nvPr/>
        </p:nvGrpSpPr>
        <p:grpSpPr>
          <a:xfrm>
            <a:off x="1456280" y="2528218"/>
            <a:ext cx="1997137" cy="3894634"/>
            <a:chOff x="1455604" y="2528080"/>
            <a:chExt cx="1997420" cy="3895186"/>
          </a:xfrm>
        </p:grpSpPr>
        <p:sp>
          <p:nvSpPr>
            <p:cNvPr id="148" name="Rectangle 10"/>
            <p:cNvSpPr>
              <a:spLocks noChangeArrowheads="1"/>
            </p:cNvSpPr>
            <p:nvPr/>
          </p:nvSpPr>
          <p:spPr bwMode="auto">
            <a:xfrm>
              <a:off x="1546592" y="2601737"/>
              <a:ext cx="1815442" cy="1512146"/>
            </a:xfrm>
            <a:prstGeom prst="rect">
              <a:avLst/>
            </a:prstGeom>
            <a:solidFill>
              <a:srgbClr val="505050"/>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49" name="Rectangle 11"/>
            <p:cNvSpPr>
              <a:spLocks noChangeArrowheads="1"/>
            </p:cNvSpPr>
            <p:nvPr/>
          </p:nvSpPr>
          <p:spPr bwMode="auto">
            <a:xfrm>
              <a:off x="1546592" y="2601737"/>
              <a:ext cx="1815442" cy="1512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0" name="Rectangle 13"/>
            <p:cNvSpPr>
              <a:spLocks noChangeArrowheads="1"/>
            </p:cNvSpPr>
            <p:nvPr/>
          </p:nvSpPr>
          <p:spPr bwMode="auto">
            <a:xfrm>
              <a:off x="1455604" y="2528080"/>
              <a:ext cx="1997420" cy="73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1" name="Rectangle 15"/>
            <p:cNvSpPr>
              <a:spLocks noChangeArrowheads="1"/>
            </p:cNvSpPr>
            <p:nvPr/>
          </p:nvSpPr>
          <p:spPr bwMode="auto">
            <a:xfrm>
              <a:off x="1728571" y="2801046"/>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2" name="Rectangle 17"/>
            <p:cNvSpPr>
              <a:spLocks noChangeArrowheads="1"/>
            </p:cNvSpPr>
            <p:nvPr/>
          </p:nvSpPr>
          <p:spPr bwMode="auto">
            <a:xfrm>
              <a:off x="1728571" y="3212662"/>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3" name="Rectangle 22"/>
            <p:cNvSpPr>
              <a:spLocks noChangeArrowheads="1"/>
            </p:cNvSpPr>
            <p:nvPr/>
          </p:nvSpPr>
          <p:spPr bwMode="auto">
            <a:xfrm>
              <a:off x="1728571" y="3619945"/>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4" name="Rectangle 23"/>
            <p:cNvSpPr>
              <a:spLocks noChangeArrowheads="1"/>
            </p:cNvSpPr>
            <p:nvPr/>
          </p:nvSpPr>
          <p:spPr bwMode="auto">
            <a:xfrm>
              <a:off x="1546592" y="4113885"/>
              <a:ext cx="1815442" cy="2309381"/>
            </a:xfrm>
            <a:prstGeom prst="rect">
              <a:avLst/>
            </a:prstGeom>
            <a:solidFill>
              <a:srgbClr val="505050"/>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5" name="Rectangle 24"/>
            <p:cNvSpPr>
              <a:spLocks noChangeArrowheads="1"/>
            </p:cNvSpPr>
            <p:nvPr/>
          </p:nvSpPr>
          <p:spPr bwMode="auto">
            <a:xfrm>
              <a:off x="1546592" y="4113885"/>
              <a:ext cx="1815442" cy="2309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6" name="Rectangle 26"/>
            <p:cNvSpPr>
              <a:spLocks noChangeArrowheads="1"/>
            </p:cNvSpPr>
            <p:nvPr/>
          </p:nvSpPr>
          <p:spPr bwMode="auto">
            <a:xfrm>
              <a:off x="1455604" y="4074889"/>
              <a:ext cx="1997420" cy="73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7" name="Rectangle 29"/>
            <p:cNvSpPr>
              <a:spLocks noChangeArrowheads="1"/>
            </p:cNvSpPr>
            <p:nvPr/>
          </p:nvSpPr>
          <p:spPr bwMode="auto">
            <a:xfrm>
              <a:off x="2131520" y="5959656"/>
              <a:ext cx="238304" cy="454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8" name="Rectangle 31"/>
            <p:cNvSpPr>
              <a:spLocks noChangeArrowheads="1"/>
            </p:cNvSpPr>
            <p:nvPr/>
          </p:nvSpPr>
          <p:spPr bwMode="auto">
            <a:xfrm>
              <a:off x="1728571" y="4356521"/>
              <a:ext cx="1464486" cy="23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9" name="Rectangle 33"/>
            <p:cNvSpPr>
              <a:spLocks noChangeArrowheads="1"/>
            </p:cNvSpPr>
            <p:nvPr/>
          </p:nvSpPr>
          <p:spPr bwMode="auto">
            <a:xfrm>
              <a:off x="1728571" y="4759471"/>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0" name="Rectangle 35"/>
            <p:cNvSpPr>
              <a:spLocks noChangeArrowheads="1"/>
            </p:cNvSpPr>
            <p:nvPr/>
          </p:nvSpPr>
          <p:spPr bwMode="auto">
            <a:xfrm>
              <a:off x="1728571" y="5166754"/>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nvGrpSpPr>
            <p:cNvPr id="161" name="Group 160"/>
            <p:cNvGrpSpPr/>
            <p:nvPr/>
          </p:nvGrpSpPr>
          <p:grpSpPr>
            <a:xfrm>
              <a:off x="1455604" y="2528080"/>
              <a:ext cx="1997420" cy="3886520"/>
              <a:chOff x="9578543" y="2628131"/>
              <a:chExt cx="2104062" cy="4094021"/>
            </a:xfrm>
            <a:solidFill>
              <a:srgbClr val="686868"/>
            </a:solidFill>
          </p:grpSpPr>
          <p:sp>
            <p:nvSpPr>
              <p:cNvPr id="163" name="Rectangle 12"/>
              <p:cNvSpPr>
                <a:spLocks noChangeArrowheads="1"/>
              </p:cNvSpPr>
              <p:nvPr/>
            </p:nvSpPr>
            <p:spPr bwMode="auto">
              <a:xfrm>
                <a:off x="9578543" y="2628131"/>
                <a:ext cx="2104062" cy="77590"/>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4" name="Rectangle 14"/>
              <p:cNvSpPr>
                <a:spLocks noChangeArrowheads="1"/>
              </p:cNvSpPr>
              <p:nvPr/>
            </p:nvSpPr>
            <p:spPr bwMode="auto">
              <a:xfrm>
                <a:off x="9866083" y="2915671"/>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5" name="Rectangle 16"/>
              <p:cNvSpPr>
                <a:spLocks noChangeArrowheads="1"/>
              </p:cNvSpPr>
              <p:nvPr/>
            </p:nvSpPr>
            <p:spPr bwMode="auto">
              <a:xfrm>
                <a:off x="9866083" y="3349263"/>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6" name="Rectangle 21"/>
              <p:cNvSpPr>
                <a:spLocks noChangeArrowheads="1"/>
              </p:cNvSpPr>
              <p:nvPr/>
            </p:nvSpPr>
            <p:spPr bwMode="auto">
              <a:xfrm>
                <a:off x="9866083" y="3778291"/>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7" name="Rectangle 25"/>
              <p:cNvSpPr>
                <a:spLocks noChangeArrowheads="1"/>
              </p:cNvSpPr>
              <p:nvPr/>
            </p:nvSpPr>
            <p:spPr bwMode="auto">
              <a:xfrm>
                <a:off x="9578543" y="4257524"/>
                <a:ext cx="2104062" cy="77590"/>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8" name="Rectangle 27"/>
              <p:cNvSpPr>
                <a:spLocks noChangeArrowheads="1"/>
              </p:cNvSpPr>
              <p:nvPr/>
            </p:nvSpPr>
            <p:spPr bwMode="auto">
              <a:xfrm>
                <a:off x="10728702" y="6242919"/>
                <a:ext cx="246463" cy="479233"/>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9" name="Rectangle 28"/>
              <p:cNvSpPr>
                <a:spLocks noChangeArrowheads="1"/>
              </p:cNvSpPr>
              <p:nvPr/>
            </p:nvSpPr>
            <p:spPr bwMode="auto">
              <a:xfrm>
                <a:off x="10290546" y="6242919"/>
                <a:ext cx="251027" cy="479233"/>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0" name="Rectangle 30"/>
              <p:cNvSpPr>
                <a:spLocks noChangeArrowheads="1"/>
              </p:cNvSpPr>
              <p:nvPr/>
            </p:nvSpPr>
            <p:spPr bwMode="auto">
              <a:xfrm>
                <a:off x="9866083" y="4554193"/>
                <a:ext cx="1542675" cy="246463"/>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1" name="Rectangle 32"/>
              <p:cNvSpPr>
                <a:spLocks noChangeArrowheads="1"/>
              </p:cNvSpPr>
              <p:nvPr/>
            </p:nvSpPr>
            <p:spPr bwMode="auto">
              <a:xfrm>
                <a:off x="9866083" y="4978656"/>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2" name="Rectangle 34"/>
              <p:cNvSpPr>
                <a:spLocks noChangeArrowheads="1"/>
              </p:cNvSpPr>
              <p:nvPr/>
            </p:nvSpPr>
            <p:spPr bwMode="auto">
              <a:xfrm>
                <a:off x="9866083" y="5407684"/>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3" name="Rectangle 36"/>
              <p:cNvSpPr>
                <a:spLocks noChangeArrowheads="1"/>
              </p:cNvSpPr>
              <p:nvPr/>
            </p:nvSpPr>
            <p:spPr bwMode="auto">
              <a:xfrm>
                <a:off x="9866083" y="5841276"/>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sp>
          <p:nvSpPr>
            <p:cNvPr id="162" name="Rectangle 37"/>
            <p:cNvSpPr>
              <a:spLocks noChangeArrowheads="1"/>
            </p:cNvSpPr>
            <p:nvPr/>
          </p:nvSpPr>
          <p:spPr bwMode="auto">
            <a:xfrm>
              <a:off x="1728571" y="5578370"/>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grpSp>
        <p:nvGrpSpPr>
          <p:cNvPr id="174" name="Group 173"/>
          <p:cNvGrpSpPr/>
          <p:nvPr/>
        </p:nvGrpSpPr>
        <p:grpSpPr>
          <a:xfrm>
            <a:off x="953746" y="5495763"/>
            <a:ext cx="476541" cy="927088"/>
            <a:chOff x="952999" y="5496047"/>
            <a:chExt cx="476608" cy="927219"/>
          </a:xfrm>
        </p:grpSpPr>
        <p:sp>
          <p:nvSpPr>
            <p:cNvPr id="175" name="Rectangle 38"/>
            <p:cNvSpPr>
              <a:spLocks noChangeArrowheads="1"/>
            </p:cNvSpPr>
            <p:nvPr/>
          </p:nvSpPr>
          <p:spPr bwMode="auto">
            <a:xfrm>
              <a:off x="1143643" y="6059311"/>
              <a:ext cx="99654" cy="3639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6" name="Oval 39"/>
            <p:cNvSpPr>
              <a:spLocks noChangeArrowheads="1"/>
            </p:cNvSpPr>
            <p:nvPr/>
          </p:nvSpPr>
          <p:spPr bwMode="auto">
            <a:xfrm>
              <a:off x="952999" y="5743017"/>
              <a:ext cx="476608" cy="48094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7" name="Oval 40"/>
            <p:cNvSpPr>
              <a:spLocks noChangeArrowheads="1"/>
            </p:cNvSpPr>
            <p:nvPr/>
          </p:nvSpPr>
          <p:spPr bwMode="auto">
            <a:xfrm>
              <a:off x="1013659" y="5496047"/>
              <a:ext cx="350956" cy="35095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grpSp>
        <p:nvGrpSpPr>
          <p:cNvPr id="178" name="Group 177"/>
          <p:cNvGrpSpPr/>
          <p:nvPr/>
        </p:nvGrpSpPr>
        <p:grpSpPr>
          <a:xfrm>
            <a:off x="364569" y="5495763"/>
            <a:ext cx="476541" cy="927088"/>
            <a:chOff x="363739" y="5496047"/>
            <a:chExt cx="476608" cy="927219"/>
          </a:xfrm>
        </p:grpSpPr>
        <p:sp>
          <p:nvSpPr>
            <p:cNvPr id="179" name="Rectangle 41"/>
            <p:cNvSpPr>
              <a:spLocks noChangeArrowheads="1"/>
            </p:cNvSpPr>
            <p:nvPr/>
          </p:nvSpPr>
          <p:spPr bwMode="auto">
            <a:xfrm>
              <a:off x="558715" y="6059311"/>
              <a:ext cx="95322" cy="3639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80" name="Oval 42"/>
            <p:cNvSpPr>
              <a:spLocks noChangeArrowheads="1"/>
            </p:cNvSpPr>
            <p:nvPr/>
          </p:nvSpPr>
          <p:spPr bwMode="auto">
            <a:xfrm>
              <a:off x="363739" y="5743017"/>
              <a:ext cx="476608" cy="48094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81" name="Oval 43"/>
            <p:cNvSpPr>
              <a:spLocks noChangeArrowheads="1"/>
            </p:cNvSpPr>
            <p:nvPr/>
          </p:nvSpPr>
          <p:spPr bwMode="auto">
            <a:xfrm>
              <a:off x="424398" y="5496047"/>
              <a:ext cx="350956" cy="35095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grpSp>
        <p:nvGrpSpPr>
          <p:cNvPr id="8" name="Group 7"/>
          <p:cNvGrpSpPr/>
          <p:nvPr/>
        </p:nvGrpSpPr>
        <p:grpSpPr>
          <a:xfrm>
            <a:off x="169689" y="5097163"/>
            <a:ext cx="4756600" cy="1360333"/>
            <a:chOff x="3264725" y="5086462"/>
            <a:chExt cx="5718997" cy="1656816"/>
          </a:xfrm>
        </p:grpSpPr>
        <p:sp>
          <p:nvSpPr>
            <p:cNvPr id="35" name="Rectangle 34">
              <a:hlinkClick r:id="rId18" action="ppaction://hlinksldjump"/>
            </p:cNvPr>
            <p:cNvSpPr/>
            <p:nvPr/>
          </p:nvSpPr>
          <p:spPr bwMode="auto">
            <a:xfrm>
              <a:off x="3264725" y="5086462"/>
              <a:ext cx="5718997" cy="1656816"/>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91427" tIns="91427" rIns="182854" bIns="45713" numCol="1" spcCol="0" rtlCol="0" fromWordArt="0" anchor="t" anchorCtr="0" forceAA="0" compatLnSpc="1">
              <a:prstTxWarp prst="textNoShape">
                <a:avLst/>
              </a:prstTxWarp>
              <a:noAutofit/>
            </a:bodyPr>
            <a:lstStyle/>
            <a:p>
              <a:pPr defTabSz="776778">
                <a:lnSpc>
                  <a:spcPct val="90000"/>
                </a:lnSpc>
              </a:pPr>
              <a:r>
                <a:rPr lang="en-US" sz="2800" kern="0" dirty="0">
                  <a:ln>
                    <a:solidFill>
                      <a:srgbClr val="FFFFFF">
                        <a:alpha val="0"/>
                      </a:srgbClr>
                    </a:solidFill>
                  </a:ln>
                  <a:gradFill>
                    <a:gsLst>
                      <a:gs pos="85841">
                        <a:srgbClr val="000000"/>
                      </a:gs>
                      <a:gs pos="0">
                        <a:srgbClr val="000000"/>
                      </a:gs>
                    </a:gsLst>
                    <a:lin ang="5400000" scaled="0"/>
                  </a:gradFill>
                  <a:latin typeface="Segoe UI Light"/>
                </a:rPr>
                <a:t>On-premises Hadoop </a:t>
              </a:r>
            </a:p>
          </p:txBody>
        </p:sp>
        <p:grpSp>
          <p:nvGrpSpPr>
            <p:cNvPr id="36" name="Group 35"/>
            <p:cNvGrpSpPr/>
            <p:nvPr/>
          </p:nvGrpSpPr>
          <p:grpSpPr>
            <a:xfrm>
              <a:off x="4347281" y="5734340"/>
              <a:ext cx="2585502" cy="854490"/>
              <a:chOff x="60929" y="3762265"/>
              <a:chExt cx="2585502" cy="854490"/>
            </a:xfrm>
          </p:grpSpPr>
          <p:sp>
            <p:nvSpPr>
              <p:cNvPr id="38" name="Rectangle 37"/>
              <p:cNvSpPr/>
              <p:nvPr/>
            </p:nvSpPr>
            <p:spPr bwMode="auto">
              <a:xfrm>
                <a:off x="1376585"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gradFill>
                      <a:gsLst>
                        <a:gs pos="85841">
                          <a:srgbClr val="FFFFFF"/>
                        </a:gs>
                        <a:gs pos="0">
                          <a:srgbClr val="FFFFFF"/>
                        </a:gs>
                      </a:gsLst>
                      <a:lin ang="5400000" scaled="0"/>
                    </a:gradFill>
                  </a:rPr>
                  <a:t>Software</a:t>
                </a:r>
              </a:p>
            </p:txBody>
          </p:sp>
          <p:grpSp>
            <p:nvGrpSpPr>
              <p:cNvPr id="39" name="Group 38"/>
              <p:cNvGrpSpPr/>
              <p:nvPr/>
            </p:nvGrpSpPr>
            <p:grpSpPr>
              <a:xfrm>
                <a:off x="60929" y="3762265"/>
                <a:ext cx="1269846" cy="854490"/>
                <a:chOff x="34103" y="3762265"/>
                <a:chExt cx="1269846" cy="854490"/>
              </a:xfrm>
            </p:grpSpPr>
            <p:sp>
              <p:nvSpPr>
                <p:cNvPr id="41" name="Rectangle 40"/>
                <p:cNvSpPr/>
                <p:nvPr/>
              </p:nvSpPr>
              <p:spPr bwMode="auto">
                <a:xfrm>
                  <a:off x="34103"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gradFill>
                        <a:gsLst>
                          <a:gs pos="85841">
                            <a:srgbClr val="FFFFFF"/>
                          </a:gs>
                          <a:gs pos="0">
                            <a:srgbClr val="FFFFFF"/>
                          </a:gs>
                        </a:gsLst>
                        <a:lin ang="5400000" scaled="0"/>
                      </a:gradFill>
                    </a:rPr>
                    <a:t>Appliances</a:t>
                  </a:r>
                </a:p>
              </p:txBody>
            </p:sp>
            <p:sp>
              <p:nvSpPr>
                <p:cNvPr id="42" name="Freeform 21"/>
                <p:cNvSpPr>
                  <a:spLocks noEditPoints="1"/>
                </p:cNvSpPr>
                <p:nvPr/>
              </p:nvSpPr>
              <p:spPr bwMode="auto">
                <a:xfrm>
                  <a:off x="794607" y="4146341"/>
                  <a:ext cx="399754" cy="39529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grpSp>
          <p:sp>
            <p:nvSpPr>
              <p:cNvPr id="40" name="Freeform 5"/>
              <p:cNvSpPr>
                <a:spLocks noEditPoints="1"/>
              </p:cNvSpPr>
              <p:nvPr/>
            </p:nvSpPr>
            <p:spPr bwMode="auto">
              <a:xfrm>
                <a:off x="2088761" y="4140336"/>
                <a:ext cx="460108" cy="40229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grpSp>
        <p:sp>
          <p:nvSpPr>
            <p:cNvPr id="37" name="Freeform 13"/>
            <p:cNvSpPr>
              <a:spLocks noEditPoints="1"/>
            </p:cNvSpPr>
            <p:nvPr/>
          </p:nvSpPr>
          <p:spPr bwMode="auto">
            <a:xfrm>
              <a:off x="7263011" y="5646099"/>
              <a:ext cx="1390482" cy="932620"/>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grpSp>
      <p:sp>
        <p:nvSpPr>
          <p:cNvPr id="185" name="Freeform 325"/>
          <p:cNvSpPr>
            <a:spLocks/>
          </p:cNvSpPr>
          <p:nvPr/>
        </p:nvSpPr>
        <p:spPr bwMode="auto">
          <a:xfrm rot="9241837">
            <a:off x="4015466" y="4840986"/>
            <a:ext cx="2422411" cy="889332"/>
          </a:xfrm>
          <a:custGeom>
            <a:avLst/>
            <a:gdLst>
              <a:gd name="T0" fmla="*/ 1299 w 1347"/>
              <a:gd name="T1" fmla="*/ 306 h 393"/>
              <a:gd name="T2" fmla="*/ 1175 w 1347"/>
              <a:gd name="T3" fmla="*/ 175 h 393"/>
              <a:gd name="T4" fmla="*/ 665 w 1347"/>
              <a:gd name="T5" fmla="*/ 0 h 393"/>
              <a:gd name="T6" fmla="*/ 163 w 1347"/>
              <a:gd name="T7" fmla="*/ 175 h 393"/>
              <a:gd name="T8" fmla="*/ 46 w 1347"/>
              <a:gd name="T9" fmla="*/ 304 h 393"/>
              <a:gd name="T10" fmla="*/ 0 w 1347"/>
              <a:gd name="T11" fmla="*/ 265 h 393"/>
              <a:gd name="T12" fmla="*/ 11 w 1347"/>
              <a:gd name="T13" fmla="*/ 393 h 393"/>
              <a:gd name="T14" fmla="*/ 139 w 1347"/>
              <a:gd name="T15" fmla="*/ 383 h 393"/>
              <a:gd name="T16" fmla="*/ 92 w 1347"/>
              <a:gd name="T17" fmla="*/ 343 h 393"/>
              <a:gd name="T18" fmla="*/ 202 w 1347"/>
              <a:gd name="T19" fmla="*/ 221 h 393"/>
              <a:gd name="T20" fmla="*/ 665 w 1347"/>
              <a:gd name="T21" fmla="*/ 60 h 393"/>
              <a:gd name="T22" fmla="*/ 1134 w 1347"/>
              <a:gd name="T23" fmla="*/ 219 h 393"/>
              <a:gd name="T24" fmla="*/ 1253 w 1347"/>
              <a:gd name="T25" fmla="*/ 345 h 393"/>
              <a:gd name="T26" fmla="*/ 1208 w 1347"/>
              <a:gd name="T27" fmla="*/ 383 h 393"/>
              <a:gd name="T28" fmla="*/ 1336 w 1347"/>
              <a:gd name="T29" fmla="*/ 393 h 393"/>
              <a:gd name="T30" fmla="*/ 1347 w 1347"/>
              <a:gd name="T31" fmla="*/ 265 h 393"/>
              <a:gd name="T32" fmla="*/ 1299 w 1347"/>
              <a:gd name="T33" fmla="*/ 30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7" h="393">
                <a:moveTo>
                  <a:pt x="1299" y="306"/>
                </a:moveTo>
                <a:cubicBezTo>
                  <a:pt x="1274" y="272"/>
                  <a:pt x="1234" y="223"/>
                  <a:pt x="1175" y="175"/>
                </a:cubicBezTo>
                <a:cubicBezTo>
                  <a:pt x="1078" y="95"/>
                  <a:pt x="910" y="0"/>
                  <a:pt x="665" y="0"/>
                </a:cubicBezTo>
                <a:cubicBezTo>
                  <a:pt x="419" y="0"/>
                  <a:pt x="256" y="95"/>
                  <a:pt x="163" y="175"/>
                </a:cubicBezTo>
                <a:cubicBezTo>
                  <a:pt x="107" y="223"/>
                  <a:pt x="70" y="270"/>
                  <a:pt x="46" y="304"/>
                </a:cubicBezTo>
                <a:cubicBezTo>
                  <a:pt x="0" y="265"/>
                  <a:pt x="0" y="265"/>
                  <a:pt x="0" y="265"/>
                </a:cubicBezTo>
                <a:cubicBezTo>
                  <a:pt x="11" y="393"/>
                  <a:pt x="11" y="393"/>
                  <a:pt x="11" y="393"/>
                </a:cubicBezTo>
                <a:cubicBezTo>
                  <a:pt x="139" y="383"/>
                  <a:pt x="139" y="383"/>
                  <a:pt x="139" y="383"/>
                </a:cubicBezTo>
                <a:cubicBezTo>
                  <a:pt x="92" y="343"/>
                  <a:pt x="92" y="343"/>
                  <a:pt x="92" y="343"/>
                </a:cubicBezTo>
                <a:cubicBezTo>
                  <a:pt x="113" y="313"/>
                  <a:pt x="148" y="267"/>
                  <a:pt x="202" y="221"/>
                </a:cubicBezTo>
                <a:cubicBezTo>
                  <a:pt x="326" y="114"/>
                  <a:pt x="482" y="60"/>
                  <a:pt x="665" y="60"/>
                </a:cubicBezTo>
                <a:cubicBezTo>
                  <a:pt x="847" y="60"/>
                  <a:pt x="1005" y="114"/>
                  <a:pt x="1134" y="219"/>
                </a:cubicBezTo>
                <a:cubicBezTo>
                  <a:pt x="1192" y="266"/>
                  <a:pt x="1231" y="314"/>
                  <a:pt x="1253" y="345"/>
                </a:cubicBezTo>
                <a:cubicBezTo>
                  <a:pt x="1208" y="383"/>
                  <a:pt x="1208" y="383"/>
                  <a:pt x="1208" y="383"/>
                </a:cubicBezTo>
                <a:cubicBezTo>
                  <a:pt x="1336" y="393"/>
                  <a:pt x="1336" y="393"/>
                  <a:pt x="1336" y="393"/>
                </a:cubicBezTo>
                <a:cubicBezTo>
                  <a:pt x="1347" y="265"/>
                  <a:pt x="1347" y="265"/>
                  <a:pt x="1347" y="265"/>
                </a:cubicBezTo>
                <a:lnTo>
                  <a:pt x="1299" y="306"/>
                </a:lnTo>
                <a:close/>
              </a:path>
            </a:pathLst>
          </a:custGeom>
          <a:solidFill>
            <a:schemeClr val="bg1">
              <a:lumMod val="65000"/>
            </a:schemeClr>
          </a:solidFill>
          <a:ln>
            <a:noFill/>
          </a:ln>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87" name="TextBox 186"/>
          <p:cNvSpPr txBox="1"/>
          <p:nvPr/>
        </p:nvSpPr>
        <p:spPr>
          <a:xfrm>
            <a:off x="6054524" y="4784377"/>
            <a:ext cx="7049601" cy="1632652"/>
          </a:xfrm>
          <a:prstGeom prst="rect">
            <a:avLst/>
          </a:prstGeom>
          <a:noFill/>
        </p:spPr>
        <p:txBody>
          <a:bodyPr wrap="square" lIns="182854" tIns="146283" rIns="182854" bIns="146283" rtlCol="0">
            <a:spAutoFit/>
          </a:bodyPr>
          <a:lstStyle/>
          <a:p>
            <a:pPr>
              <a:lnSpc>
                <a:spcPct val="90000"/>
              </a:lnSpc>
              <a:spcAft>
                <a:spcPts val="600"/>
              </a:spcAft>
            </a:pPr>
            <a:r>
              <a:rPr lang="en-US" dirty="0"/>
              <a:t>Azure facts</a:t>
            </a:r>
          </a:p>
          <a:p>
            <a:pPr marL="342834" indent="-342834">
              <a:lnSpc>
                <a:spcPct val="90000"/>
              </a:lnSpc>
              <a:spcAft>
                <a:spcPts val="600"/>
              </a:spcAft>
              <a:buFont typeface="Arial" panose="020B0604020202020204" pitchFamily="34" charset="0"/>
              <a:buChar char="•"/>
            </a:pPr>
            <a:r>
              <a:rPr lang="en-US" sz="2000" dirty="0"/>
              <a:t>&gt;4 trillion objects in Azure</a:t>
            </a:r>
          </a:p>
          <a:p>
            <a:pPr marL="342834" indent="-342834">
              <a:lnSpc>
                <a:spcPct val="90000"/>
              </a:lnSpc>
              <a:spcAft>
                <a:spcPts val="600"/>
              </a:spcAft>
              <a:buFont typeface="Arial" panose="020B0604020202020204" pitchFamily="34" charset="0"/>
              <a:buChar char="•"/>
            </a:pPr>
            <a:r>
              <a:rPr lang="en-US" sz="2000" dirty="0"/>
              <a:t>300,000-1M+ requests per second</a:t>
            </a:r>
          </a:p>
          <a:p>
            <a:pPr marL="342834" indent="-342834">
              <a:lnSpc>
                <a:spcPct val="90000"/>
              </a:lnSpc>
              <a:spcAft>
                <a:spcPts val="600"/>
              </a:spcAft>
              <a:buFont typeface="Arial" panose="020B0604020202020204" pitchFamily="34" charset="0"/>
              <a:buChar char="•"/>
            </a:pPr>
            <a:r>
              <a:rPr lang="en-US" sz="2000" dirty="0"/>
              <a:t>Double compute and storage every 6 months</a:t>
            </a:r>
          </a:p>
        </p:txBody>
      </p:sp>
      <p:sp>
        <p:nvSpPr>
          <p:cNvPr id="96" name="Rectangle 95"/>
          <p:cNvSpPr/>
          <p:nvPr/>
        </p:nvSpPr>
        <p:spPr bwMode="auto">
          <a:xfrm>
            <a:off x="9842022" y="2037181"/>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Event Hubs</a:t>
            </a:r>
          </a:p>
        </p:txBody>
      </p:sp>
      <p:sp>
        <p:nvSpPr>
          <p:cNvPr id="99" name="Freeform 98"/>
          <p:cNvSpPr>
            <a:spLocks noEditPoints="1"/>
          </p:cNvSpPr>
          <p:nvPr/>
        </p:nvSpPr>
        <p:spPr bwMode="auto">
          <a:xfrm>
            <a:off x="10203262" y="2286920"/>
            <a:ext cx="281571" cy="374368"/>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Tree>
    <p:extLst>
      <p:ext uri="{BB962C8B-B14F-4D97-AF65-F5344CB8AC3E}">
        <p14:creationId xmlns:p14="http://schemas.microsoft.com/office/powerpoint/2010/main" val="1026719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78334" y="369116"/>
            <a:ext cx="10971244" cy="1024684"/>
          </a:xfrm>
        </p:spPr>
        <p:txBody>
          <a:bodyPr/>
          <a:lstStyle/>
          <a:p>
            <a:r>
              <a:rPr lang="en-US" dirty="0">
                <a:solidFill>
                  <a:schemeClr val="tx1"/>
                </a:solidFill>
              </a:rPr>
              <a:t>No hardware challenges</a:t>
            </a:r>
          </a:p>
        </p:txBody>
      </p:sp>
      <p:sp>
        <p:nvSpPr>
          <p:cNvPr id="3" name="Text Placeholder 21"/>
          <p:cNvSpPr txBox="1">
            <a:spLocks/>
          </p:cNvSpPr>
          <p:nvPr/>
        </p:nvSpPr>
        <p:spPr>
          <a:xfrm>
            <a:off x="275483" y="1487462"/>
            <a:ext cx="6502843" cy="3816611"/>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48" dirty="0">
                <a:solidFill>
                  <a:schemeClr val="accent2"/>
                </a:solidFill>
              </a:rPr>
              <a:t>HDInsight in the cloud bypasses hardware costs</a:t>
            </a:r>
          </a:p>
          <a:p>
            <a:pPr lvl="1"/>
            <a:r>
              <a:rPr lang="en-US" dirty="0"/>
              <a:t>Hardware acquisition</a:t>
            </a:r>
          </a:p>
          <a:p>
            <a:pPr lvl="1"/>
            <a:r>
              <a:rPr lang="en-US" dirty="0"/>
              <a:t>Hardware maintenance</a:t>
            </a:r>
          </a:p>
          <a:p>
            <a:pPr lvl="1"/>
            <a:r>
              <a:rPr lang="en-US" dirty="0"/>
              <a:t>Performance tuning</a:t>
            </a:r>
          </a:p>
          <a:p>
            <a:pPr>
              <a:spcBef>
                <a:spcPts val="1224"/>
              </a:spcBef>
            </a:pPr>
            <a:r>
              <a:rPr lang="en-US" sz="2448" dirty="0">
                <a:solidFill>
                  <a:schemeClr val="accent2"/>
                </a:solidFill>
              </a:rPr>
              <a:t>HDInsight in the cloud bypasses capacity planning</a:t>
            </a:r>
          </a:p>
          <a:p>
            <a:pPr lvl="1"/>
            <a:r>
              <a:rPr lang="en-US" dirty="0"/>
              <a:t>Spin up any number of Hadoop nodes on demand</a:t>
            </a:r>
          </a:p>
          <a:p>
            <a:pPr lvl="1"/>
            <a:r>
              <a:rPr lang="en-US" dirty="0"/>
              <a:t>Go from tens to thousands of nodes</a:t>
            </a:r>
          </a:p>
        </p:txBody>
      </p:sp>
      <p:grpSp>
        <p:nvGrpSpPr>
          <p:cNvPr id="4" name="Group 3"/>
          <p:cNvGrpSpPr/>
          <p:nvPr/>
        </p:nvGrpSpPr>
        <p:grpSpPr>
          <a:xfrm>
            <a:off x="6278661" y="1487462"/>
            <a:ext cx="2879951" cy="3131696"/>
            <a:chOff x="6278669" y="1212848"/>
            <a:chExt cx="2880360" cy="3132140"/>
          </a:xfrm>
        </p:grpSpPr>
        <p:sp>
          <p:nvSpPr>
            <p:cNvPr id="5" name="Rectangle 4"/>
            <p:cNvSpPr/>
            <p:nvPr/>
          </p:nvSpPr>
          <p:spPr bwMode="auto">
            <a:xfrm>
              <a:off x="6278669" y="1212848"/>
              <a:ext cx="2880360" cy="3132140"/>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r>
                <a:rPr lang="en-US" dirty="0">
                  <a:gradFill>
                    <a:gsLst>
                      <a:gs pos="0">
                        <a:srgbClr val="FFFFFF"/>
                      </a:gs>
                      <a:gs pos="100000">
                        <a:srgbClr val="FFFFFF"/>
                      </a:gs>
                    </a:gsLst>
                    <a:lin ang="5400000" scaled="0"/>
                  </a:gradFill>
                </a:rPr>
                <a:t>No HW costs</a:t>
              </a:r>
            </a:p>
          </p:txBody>
        </p:sp>
        <p:grpSp>
          <p:nvGrpSpPr>
            <p:cNvPr id="6" name="Group 5"/>
            <p:cNvGrpSpPr/>
            <p:nvPr/>
          </p:nvGrpSpPr>
          <p:grpSpPr>
            <a:xfrm>
              <a:off x="6953831" y="1533190"/>
              <a:ext cx="1917979" cy="1617240"/>
              <a:chOff x="882284" y="1542912"/>
              <a:chExt cx="1917979" cy="1617240"/>
            </a:xfrm>
          </p:grpSpPr>
          <p:sp>
            <p:nvSpPr>
              <p:cNvPr id="8" name="Rectangle 7"/>
              <p:cNvSpPr/>
              <p:nvPr/>
            </p:nvSpPr>
            <p:spPr bwMode="auto">
              <a:xfrm>
                <a:off x="882284" y="2230085"/>
                <a:ext cx="996346" cy="930067"/>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pic>
            <p:nvPicPr>
              <p:cNvPr id="9" name="Picture 2" descr="\\MAGNUM\Projects\Microsoft\Cloud Power FY12\Design\Icons\PNGs\Marketplace.png"/>
              <p:cNvPicPr>
                <a:picLocks noChangeAspect="1" noChangeArrowheads="1"/>
              </p:cNvPicPr>
              <p:nvPr/>
            </p:nvPicPr>
            <p:blipFill>
              <a:blip r:embed="rId3" cstate="print">
                <a:lum bright="100000"/>
              </a:blip>
              <a:srcRect/>
              <a:stretch>
                <a:fillRect/>
              </a:stretch>
            </p:blipFill>
            <p:spPr bwMode="auto">
              <a:xfrm rot="20193911">
                <a:off x="1670525" y="1542912"/>
                <a:ext cx="1129738" cy="1129738"/>
              </a:xfrm>
              <a:prstGeom prst="rect">
                <a:avLst/>
              </a:prstGeom>
              <a:noFill/>
            </p:spPr>
          </p:pic>
        </p:grpSp>
        <p:sp>
          <p:nvSpPr>
            <p:cNvPr id="7" name="Rectangle 6"/>
            <p:cNvSpPr/>
            <p:nvPr/>
          </p:nvSpPr>
          <p:spPr bwMode="auto">
            <a:xfrm rot="20268552">
              <a:off x="8075931" y="1875798"/>
              <a:ext cx="502168" cy="4445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algn="ctr" defTabSz="932293">
                <a:lnSpc>
                  <a:spcPct val="90000"/>
                </a:lnSpc>
              </a:pPr>
              <a:r>
                <a:rPr lang="en-US" b="1" dirty="0">
                  <a:solidFill>
                    <a:srgbClr val="FF6600"/>
                  </a:solidFill>
                  <a:latin typeface="Arial" panose="020B0604020202020204" pitchFamily="34" charset="0"/>
                  <a:ea typeface="Segoe UI" pitchFamily="34" charset="0"/>
                  <a:cs typeface="Arial" panose="020B0604020202020204" pitchFamily="34" charset="0"/>
                </a:rPr>
                <a:t>$0</a:t>
              </a:r>
              <a:endParaRPr lang="en-US" sz="2000" b="1" dirty="0">
                <a:solidFill>
                  <a:srgbClr val="FF6600"/>
                </a:solidFill>
                <a:latin typeface="Arial" panose="020B0604020202020204" pitchFamily="34" charset="0"/>
                <a:ea typeface="Segoe UI" pitchFamily="34" charset="0"/>
                <a:cs typeface="Arial" panose="020B0604020202020204" pitchFamily="34" charset="0"/>
              </a:endParaRPr>
            </a:p>
          </p:txBody>
        </p:sp>
      </p:grpSp>
      <p:grpSp>
        <p:nvGrpSpPr>
          <p:cNvPr id="10" name="Group 9"/>
          <p:cNvGrpSpPr/>
          <p:nvPr/>
        </p:nvGrpSpPr>
        <p:grpSpPr>
          <a:xfrm>
            <a:off x="9281044" y="1487462"/>
            <a:ext cx="2879951" cy="3131696"/>
            <a:chOff x="9281478" y="1212848"/>
            <a:chExt cx="2880360" cy="3132140"/>
          </a:xfrm>
        </p:grpSpPr>
        <p:sp>
          <p:nvSpPr>
            <p:cNvPr id="11" name="Rectangle 10"/>
            <p:cNvSpPr/>
            <p:nvPr/>
          </p:nvSpPr>
          <p:spPr bwMode="auto">
            <a:xfrm>
              <a:off x="9281478" y="1212848"/>
              <a:ext cx="2880360" cy="31321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r>
                <a:rPr lang="en-US" dirty="0">
                  <a:gradFill>
                    <a:gsLst>
                      <a:gs pos="0">
                        <a:srgbClr val="FFFFFF"/>
                      </a:gs>
                      <a:gs pos="100000">
                        <a:srgbClr val="FFFFFF"/>
                      </a:gs>
                    </a:gsLst>
                    <a:lin ang="5400000" scaled="0"/>
                  </a:gradFill>
                </a:rPr>
                <a:t>Unlimited scale</a:t>
              </a:r>
            </a:p>
          </p:txBody>
        </p:sp>
        <p:grpSp>
          <p:nvGrpSpPr>
            <p:cNvPr id="12" name="Group 11"/>
            <p:cNvGrpSpPr/>
            <p:nvPr/>
          </p:nvGrpSpPr>
          <p:grpSpPr>
            <a:xfrm>
              <a:off x="9420707" y="1665485"/>
              <a:ext cx="2601903" cy="1485854"/>
              <a:chOff x="3424710" y="1665485"/>
              <a:chExt cx="2601903" cy="1485854"/>
            </a:xfrm>
          </p:grpSpPr>
          <p:sp>
            <p:nvSpPr>
              <p:cNvPr id="13" name="Freeform 13"/>
              <p:cNvSpPr>
                <a:spLocks/>
              </p:cNvSpPr>
              <p:nvPr/>
            </p:nvSpPr>
            <p:spPr bwMode="auto">
              <a:xfrm>
                <a:off x="3424710" y="1665485"/>
                <a:ext cx="2601903" cy="148585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pic>
            <p:nvPicPr>
              <p:cNvPr id="14"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41063" y="2486833"/>
                <a:ext cx="664506" cy="664506"/>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04804" y="2486833"/>
                <a:ext cx="664506" cy="664506"/>
              </a:xfrm>
              <a:prstGeom prst="rect">
                <a:avLst/>
              </a:prstGeom>
              <a:noFill/>
              <a:ln>
                <a:noFill/>
              </a:ln>
            </p:spPr>
          </p:pic>
          <p:pic>
            <p:nvPicPr>
              <p:cNvPr id="16" name="Picture 2" descr="\\MAGNUM\Projects\Microsoft\Cloud Power FY12\Design\ICONS_PNG\Tower.png"/>
              <p:cNvPicPr>
                <a:picLocks noChangeAspect="1" noChangeArrowheads="1"/>
              </p:cNvPicPr>
              <p:nvPr/>
            </p:nvPicPr>
            <p:blipFill>
              <a:blip r:embed="rId5" cstate="print">
                <a:duotone>
                  <a:prstClr val="black"/>
                  <a:schemeClr val="accent6">
                    <a:tint val="45000"/>
                    <a:satMod val="400000"/>
                  </a:schemeClr>
                </a:duotone>
              </a:blip>
              <a:stretch>
                <a:fillRect/>
              </a:stretch>
            </p:blipFill>
            <p:spPr bwMode="auto">
              <a:xfrm>
                <a:off x="4568545" y="2486833"/>
                <a:ext cx="664506" cy="664506"/>
              </a:xfrm>
              <a:prstGeom prst="rect">
                <a:avLst/>
              </a:prstGeom>
              <a:noFill/>
            </p:spPr>
          </p:pic>
          <p:pic>
            <p:nvPicPr>
              <p:cNvPr id="17"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32286" y="2485924"/>
                <a:ext cx="664506" cy="664506"/>
              </a:xfrm>
              <a:prstGeom prst="rect">
                <a:avLst/>
              </a:prstGeom>
              <a:noFill/>
              <a:ln>
                <a:noFill/>
              </a:ln>
            </p:spPr>
          </p:pic>
          <p:pic>
            <p:nvPicPr>
              <p:cNvPr id="18"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896027" y="2485924"/>
                <a:ext cx="664506" cy="664506"/>
              </a:xfrm>
              <a:prstGeom prst="rect">
                <a:avLst/>
              </a:prstGeom>
              <a:noFill/>
              <a:ln>
                <a:noFill/>
              </a:ln>
            </p:spPr>
          </p:pic>
          <p:pic>
            <p:nvPicPr>
              <p:cNvPr id="19"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559768" y="2485924"/>
                <a:ext cx="664506" cy="664506"/>
              </a:xfrm>
              <a:prstGeom prst="rect">
                <a:avLst/>
              </a:prstGeom>
              <a:noFill/>
              <a:ln>
                <a:noFill/>
              </a:ln>
            </p:spPr>
          </p:pic>
          <p:pic>
            <p:nvPicPr>
              <p:cNvPr id="20"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62655" y="1951773"/>
                <a:ext cx="664506" cy="664506"/>
              </a:xfrm>
              <a:prstGeom prst="rect">
                <a:avLst/>
              </a:prstGeom>
              <a:noFill/>
              <a:ln>
                <a:noFill/>
              </a:ln>
            </p:spPr>
          </p:pic>
          <p:pic>
            <p:nvPicPr>
              <p:cNvPr id="21"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26396" y="1951773"/>
                <a:ext cx="664506" cy="664506"/>
              </a:xfrm>
              <a:prstGeom prst="rect">
                <a:avLst/>
              </a:prstGeom>
              <a:noFill/>
              <a:ln>
                <a:noFill/>
              </a:ln>
            </p:spPr>
          </p:pic>
          <p:pic>
            <p:nvPicPr>
              <p:cNvPr id="22"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590137" y="1951773"/>
                <a:ext cx="664506" cy="664506"/>
              </a:xfrm>
              <a:prstGeom prst="rect">
                <a:avLst/>
              </a:prstGeom>
              <a:noFill/>
              <a:ln>
                <a:noFill/>
              </a:ln>
            </p:spPr>
          </p:pic>
          <p:pic>
            <p:nvPicPr>
              <p:cNvPr id="23"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53878" y="1950864"/>
                <a:ext cx="664506" cy="664506"/>
              </a:xfrm>
              <a:prstGeom prst="rect">
                <a:avLst/>
              </a:prstGeom>
              <a:noFill/>
              <a:ln>
                <a:noFill/>
              </a:ln>
            </p:spPr>
          </p:pic>
          <p:pic>
            <p:nvPicPr>
              <p:cNvPr id="24"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917619" y="1950864"/>
                <a:ext cx="664506" cy="664506"/>
              </a:xfrm>
              <a:prstGeom prst="rect">
                <a:avLst/>
              </a:prstGeom>
              <a:noFill/>
              <a:ln>
                <a:noFill/>
              </a:ln>
            </p:spPr>
          </p:pic>
        </p:grpSp>
      </p:grpSp>
    </p:spTree>
    <p:extLst>
      <p:ext uri="{BB962C8B-B14F-4D97-AF65-F5344CB8AC3E}">
        <p14:creationId xmlns:p14="http://schemas.microsoft.com/office/powerpoint/2010/main" val="4008828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par>
                                <p:cTn id="26" presetID="2" presetClass="entr" presetSubtype="2" decel="100000" fill="hold" nodeType="withEffect">
                                  <p:stCondLst>
                                    <p:cond delay="0"/>
                                  </p:stCondLst>
                                  <p:childTnLst>
                                    <p:set>
                                      <p:cBhvr>
                                        <p:cTn id="27" dur="1" fill="hold">
                                          <p:stCondLst>
                                            <p:cond delay="0"/>
                                          </p:stCondLst>
                                        </p:cTn>
                                        <p:tgtEl>
                                          <p:spTgt spid="4"/>
                                        </p:tgtEl>
                                        <p:attrNameLst>
                                          <p:attrName>style.visibility</p:attrName>
                                        </p:attrNameLst>
                                      </p:cBhvr>
                                      <p:to>
                                        <p:strVal val="visible"/>
                                      </p:to>
                                    </p:set>
                                    <p:anim calcmode="lin" valueType="num">
                                      <p:cBhvr additive="base">
                                        <p:cTn id="28" dur="750" fill="hold"/>
                                        <p:tgtEl>
                                          <p:spTgt spid="4"/>
                                        </p:tgtEl>
                                        <p:attrNameLst>
                                          <p:attrName>ppt_x</p:attrName>
                                        </p:attrNameLst>
                                      </p:cBhvr>
                                      <p:tavLst>
                                        <p:tav tm="0">
                                          <p:val>
                                            <p:strVal val="1+#ppt_w/2"/>
                                          </p:val>
                                        </p:tav>
                                        <p:tav tm="100000">
                                          <p:val>
                                            <p:strVal val="#ppt_x"/>
                                          </p:val>
                                        </p:tav>
                                      </p:tavLst>
                                    </p:anim>
                                    <p:anim calcmode="lin" valueType="num">
                                      <p:cBhvr additive="base">
                                        <p:cTn id="29" dur="750" fill="hold"/>
                                        <p:tgtEl>
                                          <p:spTgt spid="4"/>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200"/>
                                  </p:stCondLst>
                                  <p:childTnLst>
                                    <p:set>
                                      <p:cBhvr>
                                        <p:cTn id="31" dur="1" fill="hold">
                                          <p:stCondLst>
                                            <p:cond delay="0"/>
                                          </p:stCondLst>
                                        </p:cTn>
                                        <p:tgtEl>
                                          <p:spTgt spid="10"/>
                                        </p:tgtEl>
                                        <p:attrNameLst>
                                          <p:attrName>style.visibility</p:attrName>
                                        </p:attrNameLst>
                                      </p:cBhvr>
                                      <p:to>
                                        <p:strVal val="visible"/>
                                      </p:to>
                                    </p:set>
                                    <p:anim calcmode="lin" valueType="num">
                                      <p:cBhvr additive="base">
                                        <p:cTn id="32" dur="750" fill="hold"/>
                                        <p:tgtEl>
                                          <p:spTgt spid="10"/>
                                        </p:tgtEl>
                                        <p:attrNameLst>
                                          <p:attrName>ppt_x</p:attrName>
                                        </p:attrNameLst>
                                      </p:cBhvr>
                                      <p:tavLst>
                                        <p:tav tm="0">
                                          <p:val>
                                            <p:strVal val="1+#ppt_w/2"/>
                                          </p:val>
                                        </p:tav>
                                        <p:tav tm="100000">
                                          <p:val>
                                            <p:strVal val="#ppt_x"/>
                                          </p:val>
                                        </p:tav>
                                      </p:tavLst>
                                    </p:anim>
                                    <p:anim calcmode="lin" valueType="num">
                                      <p:cBhvr additive="base">
                                        <p:cTn id="33"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884" y="1761945"/>
            <a:ext cx="7588761" cy="2421725"/>
          </a:xfrm>
          <a:prstGeom prst="rect">
            <a:avLst/>
          </a:prstGeom>
        </p:spPr>
        <p:txBody>
          <a:bodyPr vert="horz" wrap="square" lIns="457135"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defRPr/>
            </a:pPr>
            <a:endParaRPr lang="en-US" sz="2040" kern="0" dirty="0">
              <a:ln>
                <a:solidFill>
                  <a:srgbClr val="FFFFFF">
                    <a:alpha val="0"/>
                  </a:srgbClr>
                </a:solidFill>
              </a:ln>
              <a:solidFill>
                <a:srgbClr val="FFFFFF"/>
              </a:solidFill>
              <a:latin typeface="Segoe UI Light"/>
            </a:endParaRPr>
          </a:p>
          <a:p>
            <a:pPr marL="349724" indent="-349724">
              <a:lnSpc>
                <a:spcPct val="100000"/>
              </a:lnSpc>
              <a:spcBef>
                <a:spcPts val="1000"/>
              </a:spcBef>
              <a:buFont typeface="Arial" pitchFamily="34" charset="0"/>
              <a:buChar char="•"/>
              <a:defRPr/>
            </a:pPr>
            <a:endParaRPr lang="en-US" sz="2040" kern="0" dirty="0">
              <a:ln>
                <a:solidFill>
                  <a:srgbClr val="FFFFFF">
                    <a:alpha val="0"/>
                  </a:srgbClr>
                </a:solidFill>
              </a:ln>
              <a:solidFill>
                <a:srgbClr val="FFFFFF"/>
              </a:solidFill>
              <a:latin typeface="Segoe UI Light"/>
            </a:endParaRPr>
          </a:p>
          <a:p>
            <a:pPr>
              <a:lnSpc>
                <a:spcPct val="100000"/>
              </a:lnSpc>
              <a:spcBef>
                <a:spcPts val="1000"/>
              </a:spcBef>
              <a:defRPr/>
            </a:pPr>
            <a:endParaRPr lang="en-US" sz="2040" kern="0" dirty="0">
              <a:ln>
                <a:solidFill>
                  <a:srgbClr val="FFFFFF">
                    <a:alpha val="0"/>
                  </a:srgbClr>
                </a:solidFill>
              </a:ln>
              <a:solidFill>
                <a:srgbClr val="FFFFFF"/>
              </a:solidFill>
              <a:latin typeface="Segoe UI Light"/>
            </a:endParaRPr>
          </a:p>
          <a:p>
            <a:pPr>
              <a:lnSpc>
                <a:spcPct val="100000"/>
              </a:lnSpc>
              <a:spcBef>
                <a:spcPts val="1000"/>
              </a:spcBef>
              <a:defRPr/>
            </a:pPr>
            <a:endParaRPr lang="en-US" dirty="0">
              <a:solidFill>
                <a:srgbClr val="FFFFFF"/>
              </a:solidFill>
              <a:latin typeface="Segoe UI Light"/>
            </a:endParaRPr>
          </a:p>
          <a:p>
            <a:pPr>
              <a:lnSpc>
                <a:spcPct val="100000"/>
              </a:lnSpc>
              <a:spcBef>
                <a:spcPts val="1000"/>
              </a:spcBef>
              <a:defRPr/>
            </a:pPr>
            <a:endParaRPr lang="en-US" dirty="0">
              <a:solidFill>
                <a:srgbClr val="FFFFFF"/>
              </a:solidFill>
              <a:latin typeface="Segoe UI Light"/>
            </a:endParaRPr>
          </a:p>
        </p:txBody>
      </p:sp>
      <p:sp>
        <p:nvSpPr>
          <p:cNvPr id="7" name="Title 1"/>
          <p:cNvSpPr txBox="1">
            <a:spLocks/>
          </p:cNvSpPr>
          <p:nvPr/>
        </p:nvSpPr>
        <p:spPr>
          <a:xfrm>
            <a:off x="882" y="297358"/>
            <a:ext cx="12161366" cy="917444"/>
          </a:xfrm>
          <a:prstGeom prst="rect">
            <a:avLst/>
          </a:prstGeom>
        </p:spPr>
        <p:txBody>
          <a:bodyPr vert="horz" wrap="square" lIns="457135" tIns="91427" rIns="146283" bIns="91427"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a:defRPr/>
            </a:pPr>
            <a:r>
              <a:rPr sz="4799" dirty="0">
                <a:gradFill>
                  <a:gsLst>
                    <a:gs pos="7080">
                      <a:srgbClr val="FFFFFF"/>
                    </a:gs>
                    <a:gs pos="26000">
                      <a:srgbClr val="FFFFFF"/>
                    </a:gs>
                  </a:gsLst>
                  <a:lin ang="5400000" scaled="0"/>
                </a:gradFill>
              </a:rPr>
              <a:t>Learning objectives</a:t>
            </a:r>
          </a:p>
          <a:p>
            <a:pPr>
              <a:defRPr/>
            </a:pPr>
            <a:endParaRPr lang="en-US" sz="4799" dirty="0">
              <a:gradFill>
                <a:gsLst>
                  <a:gs pos="7080">
                    <a:srgbClr val="FFFFFF"/>
                  </a:gs>
                  <a:gs pos="26000">
                    <a:srgbClr val="FFFFFF"/>
                  </a:gs>
                </a:gsLst>
                <a:lin ang="5400000" scaled="0"/>
              </a:gradFill>
            </a:endParaRPr>
          </a:p>
          <a:p>
            <a:pPr marL="349724" indent="-349724">
              <a:lnSpc>
                <a:spcPct val="100000"/>
              </a:lnSpc>
              <a:spcBef>
                <a:spcPts val="1000"/>
              </a:spcBef>
              <a:buSzPct val="90000"/>
              <a:buFont typeface="Arial" panose="020B0604020202020204" pitchFamily="34" charset="0"/>
              <a:buChar char="•"/>
              <a:defRPr/>
            </a:pPr>
            <a:r>
              <a:rPr lang="en-US" spc="0" dirty="0">
                <a:solidFill>
                  <a:srgbClr val="FFFFFF"/>
                </a:solidFill>
                <a:cs typeface="+mn-cs"/>
              </a:rPr>
              <a:t>Reviewing Hadoop Fundamentals</a:t>
            </a:r>
          </a:p>
          <a:p>
            <a:pPr marL="349724" indent="-349724">
              <a:lnSpc>
                <a:spcPct val="100000"/>
              </a:lnSpc>
              <a:spcBef>
                <a:spcPts val="1000"/>
              </a:spcBef>
              <a:buSzPct val="90000"/>
              <a:buFont typeface="Arial" panose="020B0604020202020204" pitchFamily="34" charset="0"/>
              <a:buChar char="•"/>
              <a:defRPr/>
            </a:pPr>
            <a:r>
              <a:rPr lang="en-US" spc="0" dirty="0">
                <a:solidFill>
                  <a:srgbClr val="FFFFFF"/>
                </a:solidFill>
                <a:cs typeface="+mn-cs"/>
              </a:rPr>
              <a:t>Understanding </a:t>
            </a:r>
            <a:r>
              <a:rPr lang="en-US" spc="0" dirty="0">
                <a:solidFill>
                  <a:srgbClr val="FFFFFF"/>
                </a:solidFill>
              </a:rPr>
              <a:t>Azure HDInsight</a:t>
            </a:r>
          </a:p>
          <a:p>
            <a:pPr marL="349724" indent="-349724">
              <a:lnSpc>
                <a:spcPct val="100000"/>
              </a:lnSpc>
              <a:spcBef>
                <a:spcPts val="1000"/>
              </a:spcBef>
              <a:buSzPct val="90000"/>
              <a:buFont typeface="Arial" panose="020B0604020202020204" pitchFamily="34" charset="0"/>
              <a:buChar char="•"/>
              <a:defRPr/>
            </a:pPr>
            <a:r>
              <a:rPr lang="en-US" spc="0" dirty="0">
                <a:solidFill>
                  <a:srgbClr val="FFFFFF"/>
                </a:solidFill>
                <a:cs typeface="+mn-cs"/>
              </a:rPr>
              <a:t>Provisioning with Azure HDInsight</a:t>
            </a:r>
            <a:endParaRPr spc="0" dirty="0">
              <a:solidFill>
                <a:srgbClr val="FFFFFF"/>
              </a:solidFill>
              <a:latin typeface="Segoe UI Light"/>
              <a:cs typeface="+mn-cs"/>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510" y="497"/>
            <a:ext cx="4569084" cy="6993533"/>
          </a:xfrm>
          <a:prstGeom prst="rect">
            <a:avLst/>
          </a:prstGeom>
        </p:spPr>
      </p:pic>
    </p:spTree>
    <p:extLst>
      <p:ext uri="{BB962C8B-B14F-4D97-AF65-F5344CB8AC3E}">
        <p14:creationId xmlns:p14="http://schemas.microsoft.com/office/powerpoint/2010/main" val="153755916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10848" y="369116"/>
            <a:ext cx="10971244" cy="1024684"/>
          </a:xfrm>
        </p:spPr>
        <p:txBody>
          <a:bodyPr/>
          <a:lstStyle/>
          <a:p>
            <a:r>
              <a:rPr lang="en-US" dirty="0">
                <a:solidFill>
                  <a:schemeClr val="tx1"/>
                </a:solidFill>
              </a:rPr>
              <a:t>Mission-critical, enterprise-ready</a:t>
            </a:r>
          </a:p>
        </p:txBody>
      </p:sp>
      <p:sp>
        <p:nvSpPr>
          <p:cNvPr id="3" name="Text Placeholder 5"/>
          <p:cNvSpPr txBox="1">
            <a:spLocks/>
          </p:cNvSpPr>
          <p:nvPr/>
        </p:nvSpPr>
        <p:spPr>
          <a:xfrm>
            <a:off x="275481" y="1342114"/>
            <a:ext cx="11887878" cy="4464691"/>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Managed Hadoop, backed by SLA</a:t>
            </a:r>
          </a:p>
          <a:p>
            <a:pPr lvl="1"/>
            <a:r>
              <a:rPr lang="en-US" sz="1836" dirty="0"/>
              <a:t>Three nines of availability: 99.9% uptime</a:t>
            </a:r>
          </a:p>
          <a:p>
            <a:pPr>
              <a:spcBef>
                <a:spcPts val="1224"/>
              </a:spcBef>
            </a:pPr>
            <a:r>
              <a:rPr lang="en-US" sz="3599" dirty="0">
                <a:solidFill>
                  <a:schemeClr val="accent2"/>
                </a:solidFill>
              </a:rPr>
              <a:t>HDInsight auto-replicates data</a:t>
            </a:r>
          </a:p>
          <a:p>
            <a:pPr lvl="1"/>
            <a:r>
              <a:rPr lang="en-US" sz="1836" dirty="0"/>
              <a:t>Automatic geo-replication of data</a:t>
            </a:r>
          </a:p>
          <a:p>
            <a:pPr lvl="1"/>
            <a:r>
              <a:rPr lang="en-US" sz="1836" dirty="0"/>
              <a:t>Data only replicates within same geo-political (i.e., country, region)</a:t>
            </a:r>
          </a:p>
          <a:p>
            <a:endParaRPr lang="en-US" sz="1836" dirty="0"/>
          </a:p>
          <a:p>
            <a:endParaRPr lang="en-US" sz="1836" dirty="0"/>
          </a:p>
          <a:p>
            <a:endParaRPr lang="en-US" sz="1836" dirty="0"/>
          </a:p>
        </p:txBody>
      </p:sp>
      <p:grpSp>
        <p:nvGrpSpPr>
          <p:cNvPr id="4" name="Group 3"/>
          <p:cNvGrpSpPr/>
          <p:nvPr/>
        </p:nvGrpSpPr>
        <p:grpSpPr>
          <a:xfrm>
            <a:off x="9281044" y="1495353"/>
            <a:ext cx="2879951" cy="3131696"/>
            <a:chOff x="9281478" y="1212848"/>
            <a:chExt cx="2880360" cy="3132140"/>
          </a:xfrm>
        </p:grpSpPr>
        <p:sp>
          <p:nvSpPr>
            <p:cNvPr id="5" name="Rectangle 4"/>
            <p:cNvSpPr/>
            <p:nvPr/>
          </p:nvSpPr>
          <p:spPr bwMode="auto">
            <a:xfrm>
              <a:off x="9281478" y="1212848"/>
              <a:ext cx="2880360" cy="31321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r>
                <a:rPr lang="en-US" dirty="0">
                  <a:gradFill>
                    <a:gsLst>
                      <a:gs pos="0">
                        <a:srgbClr val="FFFFFF"/>
                      </a:gs>
                      <a:gs pos="100000">
                        <a:srgbClr val="FFFFFF"/>
                      </a:gs>
                    </a:gsLst>
                    <a:lin ang="5400000" scaled="0"/>
                  </a:gradFill>
                </a:rPr>
                <a:t>Mission-critical Hadoop</a:t>
              </a:r>
            </a:p>
          </p:txBody>
        </p:sp>
        <p:pic>
          <p:nvPicPr>
            <p:cNvPr id="6" name="Picture 5" descr="\\MAGNUM\Projects\Microsoft\Cloud Power FY12\Design\ICONS_PNG\Open_Web_Platform.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891148" y="1691519"/>
              <a:ext cx="1661020" cy="1661020"/>
            </a:xfrm>
            <a:prstGeom prst="rect">
              <a:avLst/>
            </a:prstGeom>
            <a:noFill/>
          </p:spPr>
        </p:pic>
      </p:grpSp>
    </p:spTree>
    <p:extLst>
      <p:ext uri="{BB962C8B-B14F-4D97-AF65-F5344CB8AC3E}">
        <p14:creationId xmlns:p14="http://schemas.microsoft.com/office/powerpoint/2010/main" val="13249778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2" presetClass="entr" presetSubtype="2" decel="100000"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additive="base">
                                        <p:cTn id="24" dur="750" fill="hold"/>
                                        <p:tgtEl>
                                          <p:spTgt spid="4"/>
                                        </p:tgtEl>
                                        <p:attrNameLst>
                                          <p:attrName>ppt_x</p:attrName>
                                        </p:attrNameLst>
                                      </p:cBhvr>
                                      <p:tavLst>
                                        <p:tav tm="0">
                                          <p:val>
                                            <p:strVal val="1+#ppt_w/2"/>
                                          </p:val>
                                        </p:tav>
                                        <p:tav tm="100000">
                                          <p:val>
                                            <p:strVal val="#ppt_x"/>
                                          </p:val>
                                        </p:tav>
                                      </p:tavLst>
                                    </p:anim>
                                    <p:anim calcmode="lin" valueType="num">
                                      <p:cBhvr additive="base">
                                        <p:cTn id="25"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02722" y="369116"/>
            <a:ext cx="10971244" cy="1024684"/>
          </a:xfrm>
        </p:spPr>
        <p:txBody>
          <a:bodyPr/>
          <a:lstStyle/>
          <a:p>
            <a:r>
              <a:rPr lang="en-US" dirty="0">
                <a:solidFill>
                  <a:schemeClr val="tx1"/>
                </a:solidFill>
              </a:rPr>
              <a:t>Maintenance done for you</a:t>
            </a:r>
          </a:p>
        </p:txBody>
      </p:sp>
      <p:sp>
        <p:nvSpPr>
          <p:cNvPr id="4" name="Text Placeholder 2"/>
          <p:cNvSpPr txBox="1">
            <a:spLocks/>
          </p:cNvSpPr>
          <p:nvPr/>
        </p:nvSpPr>
        <p:spPr>
          <a:xfrm>
            <a:off x="288476" y="1437968"/>
            <a:ext cx="6997076" cy="4557554"/>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r>
              <a:rPr lang="en-US" sz="3999" dirty="0">
                <a:solidFill>
                  <a:schemeClr val="accent2"/>
                </a:solidFill>
                <a:latin typeface="+mj-lt"/>
                <a:cs typeface="ＭＳ Ｐゴシック" charset="0"/>
              </a:rPr>
              <a:t>Minimal IT resources for upgrades/patching</a:t>
            </a:r>
          </a:p>
          <a:p>
            <a:pPr marL="0" lvl="1"/>
            <a:r>
              <a:rPr lang="en-US" sz="1836" dirty="0"/>
              <a:t>OS patching and security updates done automatically</a:t>
            </a:r>
          </a:p>
          <a:p>
            <a:pPr marL="0" lvl="1"/>
            <a:endParaRPr lang="en-US" sz="1836" dirty="0">
              <a:gradFill>
                <a:gsLst>
                  <a:gs pos="33628">
                    <a:schemeClr val="tx2"/>
                  </a:gs>
                  <a:gs pos="86000">
                    <a:schemeClr val="tx2"/>
                  </a:gs>
                </a:gsLst>
                <a:lin ang="5400000" scaled="0"/>
              </a:gradFill>
            </a:endParaRPr>
          </a:p>
          <a:p>
            <a:pPr marL="0" lvl="1"/>
            <a:r>
              <a:rPr lang="en-US" sz="3999" dirty="0">
                <a:solidFill>
                  <a:schemeClr val="accent2"/>
                </a:solidFill>
                <a:latin typeface="+mj-lt"/>
                <a:cs typeface="ＭＳ Ｐゴシック" charset="0"/>
              </a:rPr>
              <a:t>Minimal IT resources to update Hadoop versions </a:t>
            </a:r>
          </a:p>
          <a:p>
            <a:pPr marL="0" lvl="1"/>
            <a:r>
              <a:rPr lang="en-US" sz="1836" dirty="0"/>
              <a:t>Hadoop versions are rapidly releasing throughout year</a:t>
            </a:r>
          </a:p>
          <a:p>
            <a:pPr marL="0" lvl="1"/>
            <a:r>
              <a:rPr lang="en-US" sz="1836" dirty="0"/>
              <a:t>Always be on latest version of Hadoop, without effort</a:t>
            </a:r>
          </a:p>
          <a:p>
            <a:endParaRPr lang="en-US" sz="1836" dirty="0"/>
          </a:p>
        </p:txBody>
      </p:sp>
    </p:spTree>
    <p:extLst>
      <p:ext uri="{BB962C8B-B14F-4D97-AF65-F5344CB8AC3E}">
        <p14:creationId xmlns:p14="http://schemas.microsoft.com/office/powerpoint/2010/main" val="41254299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68619" y="369116"/>
            <a:ext cx="10971244" cy="1024684"/>
          </a:xfrm>
        </p:spPr>
        <p:txBody>
          <a:bodyPr/>
          <a:lstStyle/>
          <a:p>
            <a:r>
              <a:rPr lang="en-US" dirty="0">
                <a:solidFill>
                  <a:schemeClr val="tx1"/>
                </a:solidFill>
              </a:rPr>
              <a:t>Low cost </a:t>
            </a:r>
          </a:p>
        </p:txBody>
      </p:sp>
      <p:sp>
        <p:nvSpPr>
          <p:cNvPr id="3" name="Text Placeholder 6"/>
          <p:cNvSpPr txBox="1">
            <a:spLocks/>
          </p:cNvSpPr>
          <p:nvPr/>
        </p:nvSpPr>
        <p:spPr>
          <a:xfrm>
            <a:off x="270085" y="1189504"/>
            <a:ext cx="11654187" cy="2570086"/>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36" dirty="0">
                <a:solidFill>
                  <a:schemeClr val="tx1"/>
                </a:solidFill>
              </a:rPr>
              <a:t>HDInsight is billed by usage</a:t>
            </a:r>
          </a:p>
          <a:p>
            <a:r>
              <a:rPr lang="en-US" dirty="0">
                <a:solidFill>
                  <a:schemeClr val="tx1"/>
                </a:solidFill>
              </a:rPr>
              <a:t>Billed for usage</a:t>
            </a:r>
          </a:p>
          <a:p>
            <a:r>
              <a:rPr lang="en-US" dirty="0">
                <a:solidFill>
                  <a:schemeClr val="tx1"/>
                </a:solidFill>
              </a:rPr>
              <a:t>Clusters can be deleted when no longer used</a:t>
            </a:r>
          </a:p>
          <a:p>
            <a:pPr>
              <a:spcBef>
                <a:spcPts val="1224"/>
              </a:spcBef>
            </a:pPr>
            <a:r>
              <a:rPr lang="en-US" sz="3599" dirty="0">
                <a:solidFill>
                  <a:schemeClr val="accent2"/>
                </a:solidFill>
              </a:rPr>
              <a:t>No additional price for support</a:t>
            </a:r>
          </a:p>
          <a:p>
            <a:pPr lvl="1" indent="-466298"/>
            <a:r>
              <a:rPr lang="en-US" dirty="0"/>
              <a:t>Azure Support includes Hadoop support</a:t>
            </a:r>
          </a:p>
          <a:p>
            <a:pPr lvl="1" indent="-466298"/>
            <a:r>
              <a:rPr lang="en-US" dirty="0"/>
              <a:t>What usually costs thousands of dollars per node is included</a:t>
            </a:r>
          </a:p>
        </p:txBody>
      </p:sp>
      <p:sp>
        <p:nvSpPr>
          <p:cNvPr id="4" name="Rectangle 3"/>
          <p:cNvSpPr/>
          <p:nvPr/>
        </p:nvSpPr>
        <p:spPr bwMode="auto">
          <a:xfrm>
            <a:off x="8046778" y="1213173"/>
            <a:ext cx="4115804" cy="3131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endParaRPr lang="en-US" dirty="0">
              <a:gradFill>
                <a:gsLst>
                  <a:gs pos="0">
                    <a:srgbClr val="FFFFFF"/>
                  </a:gs>
                  <a:gs pos="100000">
                    <a:srgbClr val="FFFFFF"/>
                  </a:gs>
                </a:gsLst>
                <a:lin ang="5400000" scaled="0"/>
              </a:gradFill>
            </a:endParaRPr>
          </a:p>
        </p:txBody>
      </p:sp>
      <p:sp>
        <p:nvSpPr>
          <p:cNvPr id="5" name="TextBox 4"/>
          <p:cNvSpPr txBox="1"/>
          <p:nvPr/>
        </p:nvSpPr>
        <p:spPr>
          <a:xfrm>
            <a:off x="8427724" y="1440154"/>
            <a:ext cx="914270" cy="914270"/>
          </a:xfrm>
          <a:prstGeom prst="rect">
            <a:avLst/>
          </a:prstGeom>
          <a:noFill/>
        </p:spPr>
        <p:txBody>
          <a:bodyPr wrap="none" lIns="182854" tIns="146283" rIns="182854" bIns="146283" rtlCol="0">
            <a:noAutofit/>
          </a:bodyPr>
          <a:lstStyle/>
          <a:p>
            <a:pPr>
              <a:lnSpc>
                <a:spcPct val="90000"/>
              </a:lnSpc>
              <a:spcAft>
                <a:spcPts val="600"/>
              </a:spcAft>
            </a:pPr>
            <a:r>
              <a:rPr lang="en-US" sz="11497" dirty="0">
                <a:solidFill>
                  <a:srgbClr val="FFFFFF"/>
                </a:solidFill>
              </a:rPr>
              <a:t>$£€¥</a:t>
            </a:r>
          </a:p>
        </p:txBody>
      </p:sp>
      <p:pic>
        <p:nvPicPr>
          <p:cNvPr id="6" name="Picture 5"/>
          <p:cNvPicPr>
            <a:picLocks noChangeAspect="1"/>
          </p:cNvPicPr>
          <p:nvPr/>
        </p:nvPicPr>
        <p:blipFill>
          <a:blip r:embed="rId3"/>
          <a:stretch>
            <a:fillRect/>
          </a:stretch>
        </p:blipFill>
        <p:spPr>
          <a:xfrm>
            <a:off x="437383" y="4572551"/>
            <a:ext cx="7609396" cy="1980919"/>
          </a:xfrm>
          <a:prstGeom prst="rect">
            <a:avLst/>
          </a:prstGeom>
          <a:ln w="63500">
            <a:solidFill>
              <a:schemeClr val="accent2"/>
            </a:solidFill>
          </a:ln>
        </p:spPr>
      </p:pic>
    </p:spTree>
    <p:extLst>
      <p:ext uri="{BB962C8B-B14F-4D97-AF65-F5344CB8AC3E}">
        <p14:creationId xmlns:p14="http://schemas.microsoft.com/office/powerpoint/2010/main" val="36730124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v-abb\Dropbox\SQL Server 14\Resources\bb1be64e-7318-465f-b470-54f58299ef6f\MSMEA12_Hana_Salman_02.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7966492" y="3464610"/>
            <a:ext cx="3751974" cy="29208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75785" y="3464611"/>
            <a:ext cx="3753072" cy="2923078"/>
          </a:xfrm>
          <a:prstGeom prst="rect">
            <a:avLst/>
          </a:prstGeom>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114725" y="3464611"/>
            <a:ext cx="3757651" cy="2923080"/>
          </a:xfrm>
          <a:prstGeom prst="rect">
            <a:avLst/>
          </a:prstGeom>
        </p:spPr>
      </p:pic>
      <p:sp useBgFill="1">
        <p:nvSpPr>
          <p:cNvPr id="9" name="Rectangle 8"/>
          <p:cNvSpPr/>
          <p:nvPr/>
        </p:nvSpPr>
        <p:spPr bwMode="auto">
          <a:xfrm>
            <a:off x="882" y="496"/>
            <a:ext cx="12434711" cy="346192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3" name="Text Placeholder 2"/>
          <p:cNvSpPr>
            <a:spLocks noGrp="1"/>
          </p:cNvSpPr>
          <p:nvPr>
            <p:ph type="body" sz="quarter" idx="13"/>
          </p:nvPr>
        </p:nvSpPr>
        <p:spPr>
          <a:xfrm>
            <a:off x="90815" y="332183"/>
            <a:ext cx="10971244" cy="1024684"/>
          </a:xfrm>
        </p:spPr>
        <p:txBody>
          <a:bodyPr/>
          <a:lstStyle/>
          <a:p>
            <a:r>
              <a:rPr lang="en-US" dirty="0">
                <a:solidFill>
                  <a:schemeClr val="tx1"/>
                </a:solidFill>
              </a:rPr>
              <a:t>Introducing Azure HDInsight</a:t>
            </a:r>
          </a:p>
        </p:txBody>
      </p:sp>
      <p:sp>
        <p:nvSpPr>
          <p:cNvPr id="4" name="Rectangle 3"/>
          <p:cNvSpPr/>
          <p:nvPr/>
        </p:nvSpPr>
        <p:spPr bwMode="auto">
          <a:xfrm>
            <a:off x="275786" y="1213174"/>
            <a:ext cx="3752899" cy="22514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100% Apache Hadoop</a:t>
            </a:r>
          </a:p>
        </p:txBody>
      </p:sp>
      <p:sp>
        <p:nvSpPr>
          <p:cNvPr id="11" name="Rectangle 10"/>
          <p:cNvSpPr/>
          <p:nvPr/>
        </p:nvSpPr>
        <p:spPr bwMode="auto">
          <a:xfrm>
            <a:off x="4086884" y="1213175"/>
            <a:ext cx="3832549" cy="520531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6" name="Rectangle 5"/>
          <p:cNvSpPr/>
          <p:nvPr/>
        </p:nvSpPr>
        <p:spPr bwMode="auto">
          <a:xfrm>
            <a:off x="7966493" y="1213174"/>
            <a:ext cx="3754378" cy="22514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Immersive insights</a:t>
            </a:r>
          </a:p>
        </p:txBody>
      </p:sp>
      <p:sp>
        <p:nvSpPr>
          <p:cNvPr id="5" name="Rectangle 4"/>
          <p:cNvSpPr/>
          <p:nvPr/>
        </p:nvSpPr>
        <p:spPr bwMode="auto">
          <a:xfrm>
            <a:off x="4120402" y="1213174"/>
            <a:ext cx="3751974" cy="22514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Powered by </a:t>
            </a:r>
            <a:br>
              <a:rPr lang="en-US" sz="3599" dirty="0">
                <a:ln>
                  <a:solidFill>
                    <a:srgbClr val="FFFFFF">
                      <a:alpha val="0"/>
                    </a:srgbClr>
                  </a:solidFill>
                </a:ln>
                <a:solidFill>
                  <a:srgbClr val="FFFFFF"/>
                </a:solidFill>
                <a:latin typeface="Segoe UI Light"/>
                <a:ea typeface="Segoe UI" pitchFamily="34" charset="0"/>
                <a:cs typeface="Segoe UI" pitchFamily="34" charset="0"/>
              </a:rPr>
            </a:br>
            <a:r>
              <a:rPr lang="en-US" sz="3599" dirty="0">
                <a:ln>
                  <a:solidFill>
                    <a:srgbClr val="FFFFFF">
                      <a:alpha val="0"/>
                    </a:srgbClr>
                  </a:solidFill>
                </a:ln>
                <a:solidFill>
                  <a:srgbClr val="FFFFFF"/>
                </a:solidFill>
                <a:latin typeface="Segoe UI Light"/>
                <a:ea typeface="Segoe UI" pitchFamily="34" charset="0"/>
                <a:cs typeface="Segoe UI" pitchFamily="34" charset="0"/>
              </a:rPr>
              <a:t>the cloud</a:t>
            </a:r>
          </a:p>
        </p:txBody>
      </p:sp>
      <p:sp>
        <p:nvSpPr>
          <p:cNvPr id="12" name="Rectangle 11"/>
          <p:cNvSpPr/>
          <p:nvPr/>
        </p:nvSpPr>
        <p:spPr bwMode="auto">
          <a:xfrm>
            <a:off x="235117" y="1213175"/>
            <a:ext cx="3832549" cy="520531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4114725" y="1213175"/>
            <a:ext cx="3832549" cy="521913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981630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12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4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animBg="1"/>
      <p:bldP spid="5" grpId="0" animBg="1"/>
      <p:bldP spid="12" grpId="0" animBg="1"/>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58019" y="5935324"/>
            <a:ext cx="11520122" cy="541386"/>
            <a:chOff x="457200" y="5935663"/>
            <a:chExt cx="11521757" cy="541463"/>
          </a:xfrm>
        </p:grpSpPr>
        <p:cxnSp>
          <p:nvCxnSpPr>
            <p:cNvPr id="8" name="Straight Arrow Connector 7"/>
            <p:cNvCxnSpPr/>
            <p:nvPr/>
          </p:nvCxnSpPr>
          <p:spPr>
            <a:xfrm>
              <a:off x="457200" y="5935663"/>
              <a:ext cx="11521757" cy="0"/>
            </a:xfrm>
            <a:prstGeom prst="straightConnector1">
              <a:avLst/>
            </a:prstGeom>
            <a:ln w="381000">
              <a:solidFill>
                <a:srgbClr val="C0C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912575" y="6100388"/>
              <a:ext cx="4611006" cy="376738"/>
            </a:xfrm>
            <a:prstGeom prst="rect">
              <a:avLst/>
            </a:prstGeom>
            <a:noFill/>
          </p:spPr>
          <p:txBody>
            <a:bodyPr wrap="square" rtlCol="0">
              <a:spAutoFit/>
            </a:bodyPr>
            <a:lstStyle/>
            <a:p>
              <a:pPr algn="ctr"/>
              <a:r>
                <a:rPr lang="en-US" dirty="0">
                  <a:gradFill>
                    <a:gsLst>
                      <a:gs pos="885">
                        <a:srgbClr val="000000"/>
                      </a:gs>
                      <a:gs pos="100000">
                        <a:srgbClr val="000000"/>
                      </a:gs>
                    </a:gsLst>
                    <a:lin ang="5400000" scaled="0"/>
                  </a:gradFill>
                  <a:cs typeface="+mj-cs"/>
                </a:rPr>
                <a:t>Scalable, manageable, trusted</a:t>
              </a:r>
            </a:p>
          </p:txBody>
        </p:sp>
      </p:grpSp>
      <p:sp useBgFill="1">
        <p:nvSpPr>
          <p:cNvPr id="9" name="Rectangle 8"/>
          <p:cNvSpPr/>
          <p:nvPr/>
        </p:nvSpPr>
        <p:spPr bwMode="auto">
          <a:xfrm>
            <a:off x="458016" y="4773433"/>
            <a:ext cx="11520442" cy="106664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458017" y="3135364"/>
            <a:ext cx="5714189" cy="2647576"/>
            <a:chOff x="457199" y="3135312"/>
            <a:chExt cx="5715000" cy="2647951"/>
          </a:xfrm>
        </p:grpSpPr>
        <p:sp>
          <p:nvSpPr>
            <p:cNvPr id="2" name="Rectangle 1"/>
            <p:cNvSpPr/>
            <p:nvPr/>
          </p:nvSpPr>
          <p:spPr bwMode="auto">
            <a:xfrm>
              <a:off x="457199" y="3135312"/>
              <a:ext cx="5715000" cy="264795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3999" dirty="0">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457199" y="3175656"/>
              <a:ext cx="5715000" cy="2084970"/>
            </a:xfrm>
            <a:prstGeom prst="rect">
              <a:avLst/>
            </a:prstGeom>
            <a:noFill/>
          </p:spPr>
          <p:txBody>
            <a:bodyPr wrap="square" lIns="182854" tIns="146283" rIns="182854" bIns="146283" rtlCol="0">
              <a:spAutoFit/>
            </a:bodyPr>
            <a:lstStyle/>
            <a:p>
              <a:pPr>
                <a:lnSpc>
                  <a:spcPct val="90000"/>
                </a:lnSpc>
                <a:spcAft>
                  <a:spcPts val="600"/>
                </a:spcAft>
              </a:pPr>
              <a:r>
                <a:rPr lang="en-US" sz="2800" dirty="0">
                  <a:gradFill>
                    <a:gsLst>
                      <a:gs pos="0">
                        <a:srgbClr val="FFFFFF"/>
                      </a:gs>
                      <a:gs pos="100000">
                        <a:srgbClr val="FFFFFF"/>
                      </a:gs>
                    </a:gsLst>
                    <a:lin ang="5400000" scaled="0"/>
                  </a:gradFill>
                  <a:ea typeface="Segoe UI" pitchFamily="34" charset="0"/>
                  <a:cs typeface="Segoe UI" pitchFamily="34" charset="0"/>
                </a:rPr>
                <a:t>1 billion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Microsoft Office users</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Connect to HDInsight</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Analyze </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Visualize</a:t>
              </a:r>
            </a:p>
          </p:txBody>
        </p:sp>
      </p:grpSp>
      <p:grpSp>
        <p:nvGrpSpPr>
          <p:cNvPr id="12" name="Group 11"/>
          <p:cNvGrpSpPr/>
          <p:nvPr/>
        </p:nvGrpSpPr>
        <p:grpSpPr>
          <a:xfrm>
            <a:off x="6218237" y="3135364"/>
            <a:ext cx="5760221" cy="2647576"/>
            <a:chOff x="6218237" y="3135312"/>
            <a:chExt cx="5761038" cy="2647951"/>
          </a:xfrm>
        </p:grpSpPr>
        <p:sp>
          <p:nvSpPr>
            <p:cNvPr id="31" name="Rectangle 30"/>
            <p:cNvSpPr/>
            <p:nvPr/>
          </p:nvSpPr>
          <p:spPr bwMode="auto">
            <a:xfrm>
              <a:off x="6218237" y="3135312"/>
              <a:ext cx="5761038" cy="2647951"/>
            </a:xfrm>
            <a:prstGeom prst="rect">
              <a:avLst/>
            </a:prstGeom>
            <a:solidFill>
              <a:schemeClr val="accent5">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91427" numCol="1" spcCol="0" rtlCol="0" fromWordArt="0" anchor="t" anchorCtr="0" forceAA="0" compatLnSpc="1">
              <a:prstTxWarp prst="textNoShape">
                <a:avLst/>
              </a:prstTxWarp>
              <a:noAutofit/>
            </a:bodyPr>
            <a:lstStyle/>
            <a:p>
              <a:pPr defTabSz="950577"/>
              <a:endParaRPr lang="en-US" sz="2800" dirty="0">
                <a:solidFill>
                  <a:srgbClr val="FFFFFF"/>
                </a:solidFill>
                <a:cs typeface="Segoe UI Light" panose="020B0502040204020203" pitchFamily="34" charset="0"/>
              </a:endParaRPr>
            </a:p>
          </p:txBody>
        </p:sp>
        <p:sp>
          <p:nvSpPr>
            <p:cNvPr id="28" name="TextBox 27"/>
            <p:cNvSpPr txBox="1"/>
            <p:nvPr/>
          </p:nvSpPr>
          <p:spPr>
            <a:xfrm>
              <a:off x="6218237" y="3175656"/>
              <a:ext cx="5760720" cy="2084970"/>
            </a:xfrm>
            <a:prstGeom prst="rect">
              <a:avLst/>
            </a:prstGeom>
            <a:noFill/>
          </p:spPr>
          <p:txBody>
            <a:bodyPr wrap="square" lIns="182854" tIns="146283" rIns="182854" bIns="146283" rtlCol="0">
              <a:spAutoFit/>
            </a:bodyPr>
            <a:lstStyle/>
            <a:p>
              <a:pPr>
                <a:lnSpc>
                  <a:spcPct val="90000"/>
                </a:lnSpc>
                <a:spcAft>
                  <a:spcPts val="600"/>
                </a:spcAft>
              </a:pPr>
              <a:r>
                <a:rPr lang="en-US" sz="2800" dirty="0">
                  <a:gradFill>
                    <a:gsLst>
                      <a:gs pos="0">
                        <a:srgbClr val="FFFFFF"/>
                      </a:gs>
                      <a:gs pos="100000">
                        <a:srgbClr val="FFFFFF"/>
                      </a:gs>
                    </a:gsLst>
                    <a:lin ang="5400000" scaled="0"/>
                  </a:gradFill>
                  <a:ea typeface="Segoe UI" pitchFamily="34" charset="0"/>
                  <a:cs typeface="Segoe UI" pitchFamily="34" charset="0"/>
                </a:rPr>
                <a:t>Fastest-growing commercial product ever</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Share</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Ask</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Access</a:t>
              </a:r>
            </a:p>
          </p:txBody>
        </p:sp>
      </p:grpSp>
      <p:sp useBgFill="1">
        <p:nvSpPr>
          <p:cNvPr id="13" name="Rectangle 12"/>
          <p:cNvSpPr/>
          <p:nvPr/>
        </p:nvSpPr>
        <p:spPr bwMode="auto">
          <a:xfrm>
            <a:off x="883" y="496"/>
            <a:ext cx="12434711" cy="313486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16"/>
          <p:cNvSpPr>
            <a:spLocks noGrp="1"/>
          </p:cNvSpPr>
          <p:nvPr>
            <p:ph type="body" sz="quarter" idx="13"/>
          </p:nvPr>
        </p:nvSpPr>
        <p:spPr/>
        <p:txBody>
          <a:bodyPr/>
          <a:lstStyle/>
          <a:p>
            <a:r>
              <a:rPr lang="en-US" dirty="0">
                <a:solidFill>
                  <a:schemeClr val="tx1"/>
                </a:solidFill>
              </a:rPr>
              <a:t>Bringing Hadoop to 1 billion people</a:t>
            </a:r>
          </a:p>
        </p:txBody>
      </p:sp>
      <p:grpSp>
        <p:nvGrpSpPr>
          <p:cNvPr id="3" name="Group 2"/>
          <p:cNvGrpSpPr/>
          <p:nvPr/>
        </p:nvGrpSpPr>
        <p:grpSpPr>
          <a:xfrm>
            <a:off x="458017" y="1569109"/>
            <a:ext cx="5714188" cy="1566254"/>
            <a:chOff x="457200" y="1568835"/>
            <a:chExt cx="5714999" cy="1566477"/>
          </a:xfrm>
        </p:grpSpPr>
        <p:sp>
          <p:nvSpPr>
            <p:cNvPr id="4" name="Rectangle 3"/>
            <p:cNvSpPr/>
            <p:nvPr/>
          </p:nvSpPr>
          <p:spPr bwMode="auto">
            <a:xfrm>
              <a:off x="457200" y="1568835"/>
              <a:ext cx="5714999" cy="15664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a:lnSpc>
                  <a:spcPct val="90000"/>
                </a:lnSpc>
              </a:pPr>
              <a:r>
                <a:rPr lang="en-US" sz="3199" dirty="0">
                  <a:gradFill>
                    <a:gsLst>
                      <a:gs pos="7965">
                        <a:srgbClr val="505050"/>
                      </a:gs>
                      <a:gs pos="50000">
                        <a:srgbClr val="505050"/>
                      </a:gs>
                    </a:gsLst>
                    <a:lin ang="5400000" scaled="0"/>
                  </a:gradFill>
                  <a:ea typeface="Segoe UI" pitchFamily="34" charset="0"/>
                  <a:cs typeface="Segoe UI" pitchFamily="34" charset="0"/>
                </a:rPr>
                <a:t>Excel </a:t>
              </a: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as the BI tool </a:t>
              </a:r>
              <a:b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b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for everyone</a:t>
              </a:r>
            </a:p>
          </p:txBody>
        </p:sp>
        <p:pic>
          <p:nvPicPr>
            <p:cNvPr id="5" name="Picture 4"/>
            <p:cNvPicPr>
              <a:picLocks noChangeAspect="1"/>
            </p:cNvPicPr>
            <p:nvPr/>
          </p:nvPicPr>
          <p:blipFill>
            <a:blip r:embed="rId3"/>
            <a:stretch>
              <a:fillRect/>
            </a:stretch>
          </p:blipFill>
          <p:spPr>
            <a:xfrm>
              <a:off x="3685369" y="2389882"/>
              <a:ext cx="2322538" cy="610771"/>
            </a:xfrm>
            <a:prstGeom prst="rect">
              <a:avLst/>
            </a:prstGeom>
          </p:spPr>
        </p:pic>
      </p:grpSp>
      <p:grpSp>
        <p:nvGrpSpPr>
          <p:cNvPr id="7" name="Group 6"/>
          <p:cNvGrpSpPr/>
          <p:nvPr/>
        </p:nvGrpSpPr>
        <p:grpSpPr>
          <a:xfrm>
            <a:off x="6218555" y="1569109"/>
            <a:ext cx="5759903" cy="1566254"/>
            <a:chOff x="6218555" y="1568835"/>
            <a:chExt cx="5760720" cy="1566477"/>
          </a:xfrm>
        </p:grpSpPr>
        <p:sp>
          <p:nvSpPr>
            <p:cNvPr id="34" name="Rectangle 33"/>
            <p:cNvSpPr/>
            <p:nvPr/>
          </p:nvSpPr>
          <p:spPr bwMode="auto">
            <a:xfrm>
              <a:off x="6218555" y="1568835"/>
              <a:ext cx="5760720" cy="15664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a:lnSpc>
                  <a:spcPct val="90000"/>
                </a:lnSpc>
              </a:pPr>
              <a:r>
                <a:rPr lang="en-US" sz="3199" dirty="0">
                  <a:gradFill>
                    <a:gsLst>
                      <a:gs pos="7965">
                        <a:srgbClr val="505050"/>
                      </a:gs>
                      <a:gs pos="50000">
                        <a:srgbClr val="505050"/>
                      </a:gs>
                    </a:gsLst>
                    <a:lin ang="5400000" scaled="0"/>
                  </a:gradFill>
                  <a:ea typeface="Segoe UI" pitchFamily="34" charset="0"/>
                  <a:cs typeface="Segoe UI" pitchFamily="34" charset="0"/>
                </a:rPr>
                <a:t>Power </a:t>
              </a: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BI for collaboration</a:t>
              </a:r>
              <a:b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b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amp; new experiences</a:t>
              </a:r>
            </a:p>
          </p:txBody>
        </p:sp>
        <p:pic>
          <p:nvPicPr>
            <p:cNvPr id="6" name="Picture 5"/>
            <p:cNvPicPr>
              <a:picLocks noChangeAspect="1"/>
            </p:cNvPicPr>
            <p:nvPr/>
          </p:nvPicPr>
          <p:blipFill>
            <a:blip r:embed="rId4"/>
            <a:stretch>
              <a:fillRect/>
            </a:stretch>
          </p:blipFill>
          <p:spPr>
            <a:xfrm>
              <a:off x="10321926" y="2313682"/>
              <a:ext cx="1531353" cy="715443"/>
            </a:xfrm>
            <a:prstGeom prst="rect">
              <a:avLst/>
            </a:prstGeom>
          </p:spPr>
        </p:pic>
      </p:grpSp>
    </p:spTree>
    <p:extLst>
      <p:ext uri="{BB962C8B-B14F-4D97-AF65-F5344CB8AC3E}">
        <p14:creationId xmlns:p14="http://schemas.microsoft.com/office/powerpoint/2010/main" val="16236959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2" presetClass="entr" presetSubtype="1" decel="100000" fill="hold" nodeType="withEffect">
                                  <p:stCondLst>
                                    <p:cond delay="25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750" fill="hold"/>
                                        <p:tgtEl>
                                          <p:spTgt spid="11"/>
                                        </p:tgtEl>
                                        <p:attrNameLst>
                                          <p:attrName>ppt_x</p:attrName>
                                        </p:attrNameLst>
                                      </p:cBhvr>
                                      <p:tavLst>
                                        <p:tav tm="0">
                                          <p:val>
                                            <p:strVal val="#ppt_x"/>
                                          </p:val>
                                        </p:tav>
                                        <p:tav tm="100000">
                                          <p:val>
                                            <p:strVal val="#ppt_x"/>
                                          </p:val>
                                        </p:tav>
                                      </p:tavLst>
                                    </p:anim>
                                    <p:anim calcmode="lin" valueType="num">
                                      <p:cBhvr additive="base">
                                        <p:cTn id="14" dur="75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1" decel="100000" fill="hold" nodeType="withEffect">
                                  <p:stCondLst>
                                    <p:cond delay="50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750" fill="hold"/>
                                        <p:tgtEl>
                                          <p:spTgt spid="12"/>
                                        </p:tgtEl>
                                        <p:attrNameLst>
                                          <p:attrName>ppt_x</p:attrName>
                                        </p:attrNameLst>
                                      </p:cBhvr>
                                      <p:tavLst>
                                        <p:tav tm="0">
                                          <p:val>
                                            <p:strVal val="#ppt_x"/>
                                          </p:val>
                                        </p:tav>
                                        <p:tav tm="100000">
                                          <p:val>
                                            <p:strVal val="#ppt_x"/>
                                          </p:val>
                                        </p:tav>
                                      </p:tavLst>
                                    </p:anim>
                                    <p:anim calcmode="lin" valueType="num">
                                      <p:cBhvr additive="base">
                                        <p:cTn id="18" dur="750" fill="hold"/>
                                        <p:tgtEl>
                                          <p:spTgt spid="12"/>
                                        </p:tgtEl>
                                        <p:attrNameLst>
                                          <p:attrName>ppt_y</p:attrName>
                                        </p:attrNameLst>
                                      </p:cBhvr>
                                      <p:tavLst>
                                        <p:tav tm="0">
                                          <p:val>
                                            <p:strVal val="0-#ppt_h/2"/>
                                          </p:val>
                                        </p:tav>
                                        <p:tav tm="100000">
                                          <p:val>
                                            <p:strVal val="#ppt_y"/>
                                          </p:val>
                                        </p:tav>
                                      </p:tavLst>
                                    </p:anim>
                                  </p:childTnLst>
                                </p:cTn>
                              </p:par>
                              <p:par>
                                <p:cTn id="19" presetID="16" presetClass="entr" presetSubtype="37" fill="hold" nodeType="withEffect">
                                  <p:stCondLst>
                                    <p:cond delay="1000"/>
                                  </p:stCondLst>
                                  <p:childTnLst>
                                    <p:set>
                                      <p:cBhvr>
                                        <p:cTn id="20" dur="1" fill="hold">
                                          <p:stCondLst>
                                            <p:cond delay="0"/>
                                          </p:stCondLst>
                                        </p:cTn>
                                        <p:tgtEl>
                                          <p:spTgt spid="14"/>
                                        </p:tgtEl>
                                        <p:attrNameLst>
                                          <p:attrName>style.visibility</p:attrName>
                                        </p:attrNameLst>
                                      </p:cBhvr>
                                      <p:to>
                                        <p:strVal val="visible"/>
                                      </p:to>
                                    </p:set>
                                    <p:animEffect transition="in" filter="barn(outVertical)">
                                      <p:cBhvr>
                                        <p:cTn id="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9207517" y="1987871"/>
            <a:ext cx="2963073" cy="4217717"/>
            <a:chOff x="9207940" y="1987657"/>
            <a:chExt cx="2963493" cy="4218315"/>
          </a:xfrm>
        </p:grpSpPr>
        <p:sp>
          <p:nvSpPr>
            <p:cNvPr id="32" name="Rectangle 31"/>
            <p:cNvSpPr/>
            <p:nvPr/>
          </p:nvSpPr>
          <p:spPr bwMode="auto">
            <a:xfrm>
              <a:off x="9207940" y="1987657"/>
              <a:ext cx="2963493"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pic>
          <p:nvPicPr>
            <p:cNvPr id="16" name="Picture 15"/>
            <p:cNvPicPr>
              <a:picLocks noChangeAspect="1"/>
            </p:cNvPicPr>
            <p:nvPr/>
          </p:nvPicPr>
          <p:blipFill>
            <a:blip r:embed="rId3"/>
            <a:stretch>
              <a:fillRect/>
            </a:stretch>
          </p:blipFill>
          <p:spPr>
            <a:xfrm>
              <a:off x="9341760" y="2432160"/>
              <a:ext cx="2697840" cy="2421556"/>
            </a:xfrm>
            <a:prstGeom prst="rect">
              <a:avLst/>
            </a:prstGeom>
          </p:spPr>
        </p:pic>
        <p:sp>
          <p:nvSpPr>
            <p:cNvPr id="151" name="Rectangle 150"/>
            <p:cNvSpPr>
              <a:spLocks noChangeAspect="1"/>
            </p:cNvSpPr>
            <p:nvPr/>
          </p:nvSpPr>
          <p:spPr bwMode="auto">
            <a:xfrm>
              <a:off x="9714049" y="4762205"/>
              <a:ext cx="1237978" cy="995828"/>
            </a:xfrm>
            <a:prstGeom prst="rect">
              <a:avLst/>
            </a:prstGeom>
            <a:solidFill>
              <a:schemeClr val="accent2">
                <a:alpha val="85000"/>
              </a:schemeClr>
            </a:solid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nSpc>
                  <a:spcPct val="90000"/>
                </a:lnSpc>
                <a:spcAft>
                  <a:spcPts val="600"/>
                </a:spcAft>
              </a:pPr>
              <a:r>
                <a:rPr lang="en-US" sz="1399" dirty="0">
                  <a:gradFill>
                    <a:gsLst>
                      <a:gs pos="13274">
                        <a:srgbClr val="FFFFFF"/>
                      </a:gs>
                      <a:gs pos="100000">
                        <a:srgbClr val="FFFFFF"/>
                      </a:gs>
                    </a:gsLst>
                    <a:lin ang="5400000" scaled="0"/>
                  </a:gradFill>
                </a:rPr>
                <a:t>Devices</a:t>
              </a:r>
            </a:p>
            <a:p>
              <a:pPr>
                <a:lnSpc>
                  <a:spcPct val="90000"/>
                </a:lnSpc>
                <a:spcAft>
                  <a:spcPts val="600"/>
                </a:spcAft>
              </a:pPr>
              <a:r>
                <a:rPr lang="en-US" sz="1399" dirty="0">
                  <a:gradFill>
                    <a:gsLst>
                      <a:gs pos="13274">
                        <a:srgbClr val="FFFFFF"/>
                      </a:gs>
                      <a:gs pos="100000">
                        <a:srgbClr val="FFFFFF"/>
                      </a:gs>
                    </a:gsLst>
                    <a:lin ang="5400000" scaled="0"/>
                  </a:gradFill>
                </a:rPr>
                <a:t>Applications</a:t>
              </a:r>
            </a:p>
            <a:p>
              <a:pPr>
                <a:lnSpc>
                  <a:spcPct val="90000"/>
                </a:lnSpc>
                <a:spcAft>
                  <a:spcPts val="600"/>
                </a:spcAft>
              </a:pPr>
              <a:r>
                <a:rPr lang="en-US" sz="1399" dirty="0">
                  <a:gradFill>
                    <a:gsLst>
                      <a:gs pos="13274">
                        <a:srgbClr val="FFFFFF"/>
                      </a:gs>
                      <a:gs pos="100000">
                        <a:srgbClr val="FFFFFF"/>
                      </a:gs>
                    </a:gsLst>
                    <a:lin ang="5400000" scaled="0"/>
                  </a:gradFill>
                </a:rPr>
                <a:t>Dashboards</a:t>
              </a:r>
            </a:p>
          </p:txBody>
        </p:sp>
      </p:grpSp>
      <p:sp>
        <p:nvSpPr>
          <p:cNvPr id="10" name="Rectangle 9"/>
          <p:cNvSpPr/>
          <p:nvPr/>
        </p:nvSpPr>
        <p:spPr bwMode="auto">
          <a:xfrm>
            <a:off x="285075" y="1880417"/>
            <a:ext cx="11885514" cy="956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3"/>
          </p:nvPr>
        </p:nvSpPr>
        <p:spPr/>
        <p:txBody>
          <a:bodyPr/>
          <a:lstStyle/>
          <a:p>
            <a:r>
              <a:rPr lang="en-US" sz="4080" dirty="0">
                <a:solidFill>
                  <a:schemeClr val="tx1"/>
                </a:solidFill>
              </a:rPr>
              <a:t>Making advanced analytics accessible to Hadoop </a:t>
            </a:r>
            <a:r>
              <a:rPr lang="en-US" sz="5507" dirty="0">
                <a:solidFill>
                  <a:schemeClr val="tx1"/>
                </a:solidFill>
              </a:rPr>
              <a:t/>
            </a:r>
            <a:br>
              <a:rPr lang="en-US" sz="5507" dirty="0">
                <a:solidFill>
                  <a:schemeClr val="tx1"/>
                </a:solidFill>
              </a:rPr>
            </a:br>
            <a:r>
              <a:rPr lang="en-US" sz="4080" dirty="0">
                <a:solidFill>
                  <a:schemeClr val="tx1"/>
                </a:solidFill>
              </a:rPr>
              <a:t>Microsoft Azure Machine Learning</a:t>
            </a:r>
            <a:r>
              <a:rPr lang="en-US" sz="5507" dirty="0">
                <a:solidFill>
                  <a:schemeClr val="tx1"/>
                </a:solidFill>
              </a:rPr>
              <a:t/>
            </a:r>
            <a:br>
              <a:rPr lang="en-US" sz="5507" dirty="0">
                <a:solidFill>
                  <a:schemeClr val="tx1"/>
                </a:solidFill>
              </a:rPr>
            </a:br>
            <a:r>
              <a:rPr lang="en-US" sz="5507" dirty="0">
                <a:solidFill>
                  <a:schemeClr val="tx1"/>
                </a:solidFill>
              </a:rPr>
              <a:t/>
            </a:r>
            <a:br>
              <a:rPr lang="en-US" sz="5507" dirty="0">
                <a:solidFill>
                  <a:schemeClr val="tx1"/>
                </a:solidFill>
              </a:rPr>
            </a:br>
            <a:endParaRPr lang="en-US" dirty="0">
              <a:solidFill>
                <a:schemeClr val="tx1"/>
              </a:solidFill>
            </a:endParaRPr>
          </a:p>
        </p:txBody>
      </p:sp>
      <p:grpSp>
        <p:nvGrpSpPr>
          <p:cNvPr id="18" name="Group 17"/>
          <p:cNvGrpSpPr/>
          <p:nvPr/>
        </p:nvGrpSpPr>
        <p:grpSpPr>
          <a:xfrm>
            <a:off x="285075" y="1987871"/>
            <a:ext cx="2925665" cy="4217717"/>
            <a:chOff x="284233" y="1987657"/>
            <a:chExt cx="2926080" cy="4218315"/>
          </a:xfrm>
        </p:grpSpPr>
        <p:sp>
          <p:nvSpPr>
            <p:cNvPr id="104" name="Rectangle 103"/>
            <p:cNvSpPr/>
            <p:nvPr/>
          </p:nvSpPr>
          <p:spPr bwMode="auto">
            <a:xfrm>
              <a:off x="284233" y="1987657"/>
              <a:ext cx="2926080"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pic>
          <p:nvPicPr>
            <p:cNvPr id="112" name="Picture 111"/>
            <p:cNvPicPr>
              <a:picLocks noChangeAspect="1"/>
            </p:cNvPicPr>
            <p:nvPr/>
          </p:nvPicPr>
          <p:blipFill rotWithShape="1">
            <a:blip r:embed="rId4"/>
            <a:srcRect l="-2074" r="-456" b="25753"/>
            <a:stretch/>
          </p:blipFill>
          <p:spPr>
            <a:xfrm>
              <a:off x="360382" y="2133601"/>
              <a:ext cx="2773782" cy="1266992"/>
            </a:xfrm>
            <a:prstGeom prst="rect">
              <a:avLst/>
            </a:prstGeom>
          </p:spPr>
        </p:pic>
        <p:sp>
          <p:nvSpPr>
            <p:cNvPr id="120" name="Rectangle 119"/>
            <p:cNvSpPr/>
            <p:nvPr/>
          </p:nvSpPr>
          <p:spPr>
            <a:xfrm>
              <a:off x="510418" y="2836894"/>
              <a:ext cx="1468436" cy="541687"/>
            </a:xfrm>
            <a:prstGeom prst="rect">
              <a:avLst/>
            </a:prstGeom>
          </p:spPr>
          <p:txBody>
            <a:bodyPr wrap="square" lIns="182854" tIns="146283" rIns="182854" bIns="146283">
              <a:spAutoFit/>
            </a:bodyPr>
            <a:lstStyle/>
            <a:p>
              <a:pPr defTabSz="914224"/>
              <a:r>
                <a:rPr lang="en-US" sz="1599" dirty="0">
                  <a:solidFill>
                    <a:srgbClr val="FFFFFF"/>
                  </a:solidFill>
                  <a:ea typeface="Calibri" panose="020F0502020204030204" pitchFamily="34" charset="0"/>
                </a:rPr>
                <a:t>Cloud</a:t>
              </a:r>
            </a:p>
          </p:txBody>
        </p:sp>
        <p:pic>
          <p:nvPicPr>
            <p:cNvPr id="3" name="Picture 2"/>
            <p:cNvPicPr>
              <a:picLocks/>
            </p:cNvPicPr>
            <p:nvPr/>
          </p:nvPicPr>
          <p:blipFill>
            <a:blip r:embed="rId5"/>
            <a:stretch>
              <a:fillRect/>
            </a:stretch>
          </p:blipFill>
          <p:spPr>
            <a:xfrm>
              <a:off x="721052" y="3508686"/>
              <a:ext cx="2123739" cy="1406813"/>
            </a:xfrm>
            <a:prstGeom prst="rect">
              <a:avLst/>
            </a:prstGeom>
          </p:spPr>
        </p:pic>
        <p:sp>
          <p:nvSpPr>
            <p:cNvPr id="44" name="Rectangle 43"/>
            <p:cNvSpPr/>
            <p:nvPr/>
          </p:nvSpPr>
          <p:spPr>
            <a:xfrm>
              <a:off x="656861" y="4820366"/>
              <a:ext cx="1468436" cy="541687"/>
            </a:xfrm>
            <a:prstGeom prst="rect">
              <a:avLst/>
            </a:prstGeom>
          </p:spPr>
          <p:txBody>
            <a:bodyPr wrap="square" lIns="182854" tIns="146283" rIns="182854" bIns="146283">
              <a:spAutoFit/>
            </a:bodyPr>
            <a:lstStyle/>
            <a:p>
              <a:pPr defTabSz="914224"/>
              <a:r>
                <a:rPr lang="en-US" sz="1599" dirty="0">
                  <a:gradFill>
                    <a:gsLst>
                      <a:gs pos="7080">
                        <a:srgbClr val="505050"/>
                      </a:gs>
                      <a:gs pos="100000">
                        <a:srgbClr val="505050"/>
                      </a:gs>
                    </a:gsLst>
                    <a:lin ang="5400000" scaled="0"/>
                  </a:gradFill>
                  <a:ea typeface="Calibri" panose="020F0502020204030204" pitchFamily="34" charset="0"/>
                </a:rPr>
                <a:t>Desktop</a:t>
              </a:r>
            </a:p>
          </p:txBody>
        </p:sp>
      </p:grpSp>
      <p:grpSp>
        <p:nvGrpSpPr>
          <p:cNvPr id="21" name="Group 20"/>
          <p:cNvGrpSpPr/>
          <p:nvPr/>
        </p:nvGrpSpPr>
        <p:grpSpPr>
          <a:xfrm>
            <a:off x="6233368" y="1987871"/>
            <a:ext cx="2925666" cy="4217717"/>
            <a:chOff x="6233370" y="1987657"/>
            <a:chExt cx="2926081" cy="4218315"/>
          </a:xfrm>
        </p:grpSpPr>
        <p:grpSp>
          <p:nvGrpSpPr>
            <p:cNvPr id="20" name="Group 19"/>
            <p:cNvGrpSpPr/>
            <p:nvPr/>
          </p:nvGrpSpPr>
          <p:grpSpPr>
            <a:xfrm>
              <a:off x="6233370" y="1987657"/>
              <a:ext cx="2926081" cy="4218315"/>
              <a:chOff x="6233370" y="1987657"/>
              <a:chExt cx="2926081" cy="4218315"/>
            </a:xfrm>
          </p:grpSpPr>
          <p:sp>
            <p:nvSpPr>
              <p:cNvPr id="31" name="Rectangle 30"/>
              <p:cNvSpPr/>
              <p:nvPr/>
            </p:nvSpPr>
            <p:spPr bwMode="auto">
              <a:xfrm>
                <a:off x="6233371" y="1987657"/>
                <a:ext cx="2926080"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sp>
            <p:nvSpPr>
              <p:cNvPr id="141" name="Rectangle 140"/>
              <p:cNvSpPr/>
              <p:nvPr/>
            </p:nvSpPr>
            <p:spPr>
              <a:xfrm>
                <a:off x="6233370" y="2048055"/>
                <a:ext cx="2346401" cy="541687"/>
              </a:xfrm>
              <a:prstGeom prst="rect">
                <a:avLst/>
              </a:prstGeom>
            </p:spPr>
            <p:txBody>
              <a:bodyPr wrap="square" lIns="182854" tIns="146283" rIns="182854" bIns="146283">
                <a:spAutoFit/>
              </a:bodyPr>
              <a:lstStyle/>
              <a:p>
                <a:pPr defTabSz="914224"/>
                <a:r>
                  <a:rPr lang="en-US" sz="1599" dirty="0">
                    <a:gradFill>
                      <a:gsLst>
                        <a:gs pos="7080">
                          <a:srgbClr val="505050"/>
                        </a:gs>
                        <a:gs pos="100000">
                          <a:srgbClr val="505050"/>
                        </a:gs>
                      </a:gsLst>
                      <a:lin ang="5400000" scaled="0"/>
                    </a:gradFill>
                    <a:ea typeface="Calibri" panose="020F0502020204030204" pitchFamily="34" charset="0"/>
                  </a:rPr>
                  <a:t>ML API service</a:t>
                </a:r>
              </a:p>
            </p:txBody>
          </p:sp>
          <p:pic>
            <p:nvPicPr>
              <p:cNvPr id="9" name="Picture 8"/>
              <p:cNvPicPr>
                <a:picLocks noChangeAspect="1"/>
              </p:cNvPicPr>
              <p:nvPr/>
            </p:nvPicPr>
            <p:blipFill>
              <a:blip r:embed="rId6"/>
              <a:stretch>
                <a:fillRect/>
              </a:stretch>
            </p:blipFill>
            <p:spPr>
              <a:xfrm>
                <a:off x="6552572" y="2592244"/>
                <a:ext cx="2277867" cy="1311228"/>
              </a:xfrm>
              <a:prstGeom prst="rect">
                <a:avLst/>
              </a:prstGeom>
            </p:spPr>
          </p:pic>
          <p:sp>
            <p:nvSpPr>
              <p:cNvPr id="11" name="TextBox 10"/>
              <p:cNvSpPr txBox="1"/>
              <p:nvPr/>
            </p:nvSpPr>
            <p:spPr>
              <a:xfrm>
                <a:off x="7192970" y="3021331"/>
                <a:ext cx="1075716" cy="530927"/>
              </a:xfrm>
              <a:prstGeom prst="rect">
                <a:avLst/>
              </a:prstGeom>
              <a:noFill/>
            </p:spPr>
            <p:txBody>
              <a:bodyPr wrap="none" lIns="182854" tIns="146283" rIns="182854" bIns="146283" rtlCol="0">
                <a:spAutoFit/>
              </a:bodyPr>
              <a:lstStyle/>
              <a:p>
                <a:pPr algn="ctr">
                  <a:lnSpc>
                    <a:spcPct val="75000"/>
                  </a:lnSpc>
                  <a:spcAft>
                    <a:spcPts val="600"/>
                  </a:spcAft>
                </a:pPr>
                <a:r>
                  <a:rPr lang="en-US" sz="1000" dirty="0">
                    <a:gradFill>
                      <a:gsLst>
                        <a:gs pos="10619">
                          <a:srgbClr val="0072C6"/>
                        </a:gs>
                        <a:gs pos="100000">
                          <a:srgbClr val="0072C6"/>
                        </a:gs>
                      </a:gsLst>
                      <a:lin ang="5400000" scaled="0"/>
                    </a:gradFill>
                  </a:rPr>
                  <a:t>Microsoft </a:t>
                </a:r>
                <a:br>
                  <a:rPr lang="en-US" sz="1000" dirty="0">
                    <a:gradFill>
                      <a:gsLst>
                        <a:gs pos="10619">
                          <a:srgbClr val="0072C6"/>
                        </a:gs>
                        <a:gs pos="100000">
                          <a:srgbClr val="0072C6"/>
                        </a:gs>
                      </a:gsLst>
                      <a:lin ang="5400000" scaled="0"/>
                    </a:gradFill>
                  </a:rPr>
                </a:br>
                <a:r>
                  <a:rPr lang="en-US" sz="1000" dirty="0">
                    <a:gradFill>
                      <a:gsLst>
                        <a:gs pos="10619">
                          <a:srgbClr val="0072C6"/>
                        </a:gs>
                        <a:gs pos="100000">
                          <a:srgbClr val="0072C6"/>
                        </a:gs>
                      </a:gsLst>
                      <a:lin ang="5400000" scaled="0"/>
                    </a:gradFill>
                  </a:rPr>
                  <a:t>Azure Portal</a:t>
                </a:r>
              </a:p>
            </p:txBody>
          </p:sp>
          <p:sp>
            <p:nvSpPr>
              <p:cNvPr id="143" name="TextBox 142"/>
              <p:cNvSpPr txBox="1"/>
              <p:nvPr/>
            </p:nvSpPr>
            <p:spPr>
              <a:xfrm>
                <a:off x="7144939" y="3400592"/>
                <a:ext cx="1142757" cy="436677"/>
              </a:xfrm>
              <a:prstGeom prst="rect">
                <a:avLst/>
              </a:prstGeom>
              <a:noFill/>
            </p:spPr>
            <p:txBody>
              <a:bodyPr wrap="none" lIns="182854" tIns="146283" rIns="182854" bIns="146283" rtlCol="0">
                <a:spAutoFit/>
              </a:bodyPr>
              <a:lstStyle/>
              <a:p>
                <a:pPr algn="ctr">
                  <a:lnSpc>
                    <a:spcPct val="75000"/>
                  </a:lnSpc>
                  <a:spcAft>
                    <a:spcPts val="600"/>
                  </a:spcAft>
                </a:pPr>
                <a:r>
                  <a:rPr lang="en-US" sz="1199" dirty="0">
                    <a:gradFill>
                      <a:gsLst>
                        <a:gs pos="30973">
                          <a:srgbClr val="FFFFFF"/>
                        </a:gs>
                        <a:gs pos="100000">
                          <a:srgbClr val="FFFFFF"/>
                        </a:gs>
                      </a:gsLst>
                      <a:lin ang="5400000" scaled="0"/>
                    </a:gradFill>
                  </a:rPr>
                  <a:t>Publish API</a:t>
                </a:r>
              </a:p>
            </p:txBody>
          </p:sp>
          <p:pic>
            <p:nvPicPr>
              <p:cNvPr id="15" name="Picture 14"/>
              <p:cNvPicPr>
                <a:picLocks noChangeAspect="1"/>
              </p:cNvPicPr>
              <p:nvPr/>
            </p:nvPicPr>
            <p:blipFill>
              <a:blip r:embed="rId7"/>
              <a:stretch>
                <a:fillRect/>
              </a:stretch>
            </p:blipFill>
            <p:spPr>
              <a:xfrm>
                <a:off x="6715619" y="4815615"/>
                <a:ext cx="1951772" cy="943258"/>
              </a:xfrm>
              <a:prstGeom prst="rect">
                <a:avLst/>
              </a:prstGeom>
            </p:spPr>
          </p:pic>
          <p:cxnSp>
            <p:nvCxnSpPr>
              <p:cNvPr id="146" name="Straight Arrow Connector 145"/>
              <p:cNvCxnSpPr/>
              <p:nvPr/>
            </p:nvCxnSpPr>
            <p:spPr>
              <a:xfrm>
                <a:off x="7691505" y="4255367"/>
                <a:ext cx="0" cy="470810"/>
              </a:xfrm>
              <a:prstGeom prst="straightConnector1">
                <a:avLst/>
              </a:prstGeom>
              <a:solidFill>
                <a:srgbClr val="DC3C00"/>
              </a:solidFill>
              <a:ln w="38100">
                <a:solidFill>
                  <a:srgbClr val="FF66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p:cNvSpPr/>
              <p:nvPr/>
            </p:nvSpPr>
            <p:spPr>
              <a:xfrm>
                <a:off x="6689880" y="3846660"/>
                <a:ext cx="2003250" cy="480131"/>
              </a:xfrm>
              <a:prstGeom prst="rect">
                <a:avLst/>
              </a:prstGeom>
            </p:spPr>
            <p:txBody>
              <a:bodyPr wrap="square" lIns="182854" tIns="146283" rIns="182854" bIns="146283">
                <a:spAutoFit/>
              </a:bodyPr>
              <a:lstStyle/>
              <a:p>
                <a:pPr algn="ctr" defTabSz="914224"/>
                <a:r>
                  <a:rPr lang="en-US" sz="1199" dirty="0">
                    <a:gradFill>
                      <a:gsLst>
                        <a:gs pos="7080">
                          <a:srgbClr val="505050"/>
                        </a:gs>
                        <a:gs pos="100000">
                          <a:srgbClr val="505050"/>
                        </a:gs>
                      </a:gsLst>
                      <a:lin ang="5400000" scaled="0"/>
                    </a:gradFill>
                    <a:ea typeface="Calibri" panose="020F0502020204030204" pitchFamily="34" charset="0"/>
                  </a:rPr>
                  <a:t>Publish API in minutes</a:t>
                </a:r>
              </a:p>
            </p:txBody>
          </p:sp>
        </p:grpSp>
        <p:sp>
          <p:nvSpPr>
            <p:cNvPr id="145" name="Rectangle 144"/>
            <p:cNvSpPr>
              <a:spLocks noChangeAspect="1"/>
            </p:cNvSpPr>
            <p:nvPr/>
          </p:nvSpPr>
          <p:spPr bwMode="auto">
            <a:xfrm>
              <a:off x="7283479" y="5115794"/>
              <a:ext cx="687527" cy="398747"/>
            </a:xfrm>
            <a:prstGeom prst="rect">
              <a:avLst/>
            </a:prstGeom>
            <a:solidFill>
              <a:schemeClr val="accent2">
                <a:alpha val="85000"/>
              </a:schemeClr>
            </a:solid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nSpc>
                  <a:spcPct val="90000"/>
                </a:lnSpc>
                <a:spcAft>
                  <a:spcPts val="600"/>
                </a:spcAft>
              </a:pPr>
              <a:r>
                <a:rPr lang="en-US" sz="1399" dirty="0">
                  <a:gradFill>
                    <a:gsLst>
                      <a:gs pos="13274">
                        <a:srgbClr val="FFFFFF"/>
                      </a:gs>
                      <a:gs pos="100000">
                        <a:srgbClr val="FFFFFF"/>
                      </a:gs>
                    </a:gsLst>
                    <a:lin ang="5400000" scaled="0"/>
                  </a:gradFill>
                </a:rPr>
                <a:t>Web</a:t>
              </a:r>
            </a:p>
          </p:txBody>
        </p:sp>
      </p:grpSp>
      <p:cxnSp>
        <p:nvCxnSpPr>
          <p:cNvPr id="149" name="Straight Arrow Connector 148"/>
          <p:cNvCxnSpPr/>
          <p:nvPr/>
        </p:nvCxnSpPr>
        <p:spPr>
          <a:xfrm flipH="1">
            <a:off x="8830069" y="5336762"/>
            <a:ext cx="701202" cy="0"/>
          </a:xfrm>
          <a:prstGeom prst="straightConnector1">
            <a:avLst/>
          </a:prstGeom>
          <a:solidFill>
            <a:srgbClr val="DC3C00"/>
          </a:solidFill>
          <a:ln w="38100">
            <a:solidFill>
              <a:srgbClr val="FF66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9" name="Group 18"/>
          <p:cNvGrpSpPr/>
          <p:nvPr/>
        </p:nvGrpSpPr>
        <p:grpSpPr>
          <a:xfrm>
            <a:off x="3209064" y="1987871"/>
            <a:ext cx="3024306" cy="4217717"/>
            <a:chOff x="3208636" y="1987657"/>
            <a:chExt cx="3024735" cy="4218315"/>
          </a:xfrm>
        </p:grpSpPr>
        <p:sp>
          <p:nvSpPr>
            <p:cNvPr id="30" name="Rectangle 29"/>
            <p:cNvSpPr/>
            <p:nvPr/>
          </p:nvSpPr>
          <p:spPr bwMode="auto">
            <a:xfrm>
              <a:off x="3258802" y="1987657"/>
              <a:ext cx="2926080"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sp>
          <p:nvSpPr>
            <p:cNvPr id="133" name="Rectangle 132"/>
            <p:cNvSpPr/>
            <p:nvPr/>
          </p:nvSpPr>
          <p:spPr>
            <a:xfrm>
              <a:off x="3208636" y="2048055"/>
              <a:ext cx="1468436" cy="541687"/>
            </a:xfrm>
            <a:prstGeom prst="rect">
              <a:avLst/>
            </a:prstGeom>
          </p:spPr>
          <p:txBody>
            <a:bodyPr wrap="square" lIns="182854" tIns="146283" rIns="182854" bIns="146283">
              <a:spAutoFit/>
            </a:bodyPr>
            <a:lstStyle/>
            <a:p>
              <a:pPr defTabSz="914224"/>
              <a:r>
                <a:rPr lang="en-US" sz="1599" dirty="0">
                  <a:gradFill>
                    <a:gsLst>
                      <a:gs pos="7080">
                        <a:srgbClr val="505050"/>
                      </a:gs>
                      <a:gs pos="100000">
                        <a:srgbClr val="505050"/>
                      </a:gs>
                    </a:gsLst>
                    <a:lin ang="5400000" scaled="0"/>
                  </a:gradFill>
                  <a:ea typeface="Calibri" panose="020F0502020204030204" pitchFamily="34" charset="0"/>
                </a:rPr>
                <a:t>ML Studio</a:t>
              </a:r>
            </a:p>
          </p:txBody>
        </p:sp>
        <p:pic>
          <p:nvPicPr>
            <p:cNvPr id="6" name="Picture 5"/>
            <p:cNvPicPr>
              <a:picLocks noChangeAspect="1"/>
            </p:cNvPicPr>
            <p:nvPr/>
          </p:nvPicPr>
          <p:blipFill>
            <a:blip r:embed="rId8"/>
            <a:stretch>
              <a:fillRect/>
            </a:stretch>
          </p:blipFill>
          <p:spPr>
            <a:xfrm>
              <a:off x="3388829" y="2589742"/>
              <a:ext cx="1726653" cy="1375210"/>
            </a:xfrm>
            <a:prstGeom prst="rect">
              <a:avLst/>
            </a:prstGeom>
          </p:spPr>
        </p:pic>
        <p:sp>
          <p:nvSpPr>
            <p:cNvPr id="136" name="Rectangle 135"/>
            <p:cNvSpPr>
              <a:spLocks noChangeAspect="1"/>
            </p:cNvSpPr>
            <p:nvPr/>
          </p:nvSpPr>
          <p:spPr bwMode="auto">
            <a:xfrm>
              <a:off x="4215308" y="2846816"/>
              <a:ext cx="1237978" cy="398747"/>
            </a:xfrm>
            <a:prstGeom prst="rect">
              <a:avLst/>
            </a:prstGeom>
            <a:solidFill>
              <a:schemeClr val="accent2">
                <a:alpha val="85000"/>
              </a:schemeClr>
            </a:solid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nSpc>
                  <a:spcPct val="90000"/>
                </a:lnSpc>
                <a:spcAft>
                  <a:spcPts val="600"/>
                </a:spcAft>
              </a:pPr>
              <a:r>
                <a:rPr lang="en-US" sz="1399" dirty="0">
                  <a:gradFill>
                    <a:gsLst>
                      <a:gs pos="13274">
                        <a:srgbClr val="FFFFFF"/>
                      </a:gs>
                      <a:gs pos="100000">
                        <a:srgbClr val="FFFFFF"/>
                      </a:gs>
                    </a:gsLst>
                    <a:lin ang="5400000" scaled="0"/>
                  </a:gradFill>
                </a:rPr>
                <a:t>Workspace</a:t>
              </a:r>
            </a:p>
          </p:txBody>
        </p:sp>
        <p:pic>
          <p:nvPicPr>
            <p:cNvPr id="4" name="Picture 3"/>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460824" y="4131977"/>
              <a:ext cx="2500431" cy="1754319"/>
            </a:xfrm>
            <a:prstGeom prst="rect">
              <a:avLst/>
            </a:prstGeom>
          </p:spPr>
        </p:pic>
        <p:sp>
          <p:nvSpPr>
            <p:cNvPr id="48" name="Rectangle 47"/>
            <p:cNvSpPr/>
            <p:nvPr/>
          </p:nvSpPr>
          <p:spPr>
            <a:xfrm>
              <a:off x="5079938" y="2228234"/>
              <a:ext cx="1153433" cy="664592"/>
            </a:xfrm>
            <a:prstGeom prst="rect">
              <a:avLst/>
            </a:prstGeom>
          </p:spPr>
          <p:txBody>
            <a:bodyPr wrap="square" lIns="182854" tIns="146283" rIns="182854" bIns="146283">
              <a:spAutoFit/>
            </a:bodyPr>
            <a:lstStyle/>
            <a:p>
              <a:pPr defTabSz="914224"/>
              <a:r>
                <a:rPr lang="en-US" sz="1199" dirty="0">
                  <a:gradFill>
                    <a:gsLst>
                      <a:gs pos="7080">
                        <a:srgbClr val="505050"/>
                      </a:gs>
                      <a:gs pos="100000">
                        <a:srgbClr val="505050"/>
                      </a:gs>
                    </a:gsLst>
                    <a:lin ang="5400000" scaled="0"/>
                  </a:gradFill>
                  <a:ea typeface="Calibri" panose="020F0502020204030204" pitchFamily="34" charset="0"/>
                </a:rPr>
                <a:t>Easily make </a:t>
              </a:r>
              <a:br>
                <a:rPr lang="en-US" sz="1199" dirty="0">
                  <a:gradFill>
                    <a:gsLst>
                      <a:gs pos="7080">
                        <a:srgbClr val="505050"/>
                      </a:gs>
                      <a:gs pos="100000">
                        <a:srgbClr val="505050"/>
                      </a:gs>
                    </a:gsLst>
                    <a:lin ang="5400000" scaled="0"/>
                  </a:gradFill>
                  <a:ea typeface="Calibri" panose="020F0502020204030204" pitchFamily="34" charset="0"/>
                </a:rPr>
              </a:br>
              <a:r>
                <a:rPr lang="en-US" sz="1199" dirty="0">
                  <a:gradFill>
                    <a:gsLst>
                      <a:gs pos="7080">
                        <a:srgbClr val="505050"/>
                      </a:gs>
                      <a:gs pos="100000">
                        <a:srgbClr val="505050"/>
                      </a:gs>
                    </a:gsLst>
                    <a:lin ang="5400000" scaled="0"/>
                  </a:gradFill>
                  <a:ea typeface="Calibri" panose="020F0502020204030204" pitchFamily="34" charset="0"/>
                </a:rPr>
                <a:t>changes</a:t>
              </a:r>
            </a:p>
          </p:txBody>
        </p:sp>
      </p:grpSp>
      <p:sp>
        <p:nvSpPr>
          <p:cNvPr id="53" name="Chevron 52"/>
          <p:cNvSpPr/>
          <p:nvPr/>
        </p:nvSpPr>
        <p:spPr>
          <a:xfrm>
            <a:off x="9208352" y="6138264"/>
            <a:ext cx="3157401" cy="391686"/>
          </a:xfrm>
          <a:prstGeom prst="chevron">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Results</a:t>
            </a:r>
          </a:p>
        </p:txBody>
      </p:sp>
      <p:cxnSp>
        <p:nvCxnSpPr>
          <p:cNvPr id="56" name="Straight Arrow Connector 55"/>
          <p:cNvCxnSpPr/>
          <p:nvPr/>
        </p:nvCxnSpPr>
        <p:spPr>
          <a:xfrm flipH="1">
            <a:off x="2609898" y="3565240"/>
            <a:ext cx="851318" cy="0"/>
          </a:xfrm>
          <a:prstGeom prst="straightConnector1">
            <a:avLst/>
          </a:prstGeom>
          <a:solidFill>
            <a:srgbClr val="DC3C00"/>
          </a:solidFill>
          <a:ln w="38100">
            <a:solidFill>
              <a:srgbClr val="FF6600"/>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 name="Elbow Connector 7"/>
          <p:cNvCxnSpPr/>
          <p:nvPr/>
        </p:nvCxnSpPr>
        <p:spPr>
          <a:xfrm>
            <a:off x="5554926" y="3021399"/>
            <a:ext cx="1047214" cy="618404"/>
          </a:xfrm>
          <a:prstGeom prst="bentConnector3">
            <a:avLst/>
          </a:prstGeom>
          <a:solidFill>
            <a:srgbClr val="DC3C00"/>
          </a:solidFill>
          <a:ln w="38100">
            <a:solidFill>
              <a:srgbClr val="FF66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52" name="Chevron 51"/>
          <p:cNvSpPr/>
          <p:nvPr/>
        </p:nvSpPr>
        <p:spPr>
          <a:xfrm>
            <a:off x="6232473" y="6138264"/>
            <a:ext cx="3108519" cy="391686"/>
          </a:xfrm>
          <a:prstGeom prst="chevron">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Run &amp; refine</a:t>
            </a:r>
          </a:p>
        </p:txBody>
      </p:sp>
      <p:sp>
        <p:nvSpPr>
          <p:cNvPr id="51" name="Chevron 50"/>
          <p:cNvSpPr/>
          <p:nvPr/>
        </p:nvSpPr>
        <p:spPr>
          <a:xfrm>
            <a:off x="3256592" y="6138264"/>
            <a:ext cx="3108519" cy="391686"/>
          </a:xfrm>
          <a:prstGeom prst="chevron">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Test model types</a:t>
            </a:r>
          </a:p>
        </p:txBody>
      </p:sp>
      <p:sp>
        <p:nvSpPr>
          <p:cNvPr id="50" name="Pentagon 49"/>
          <p:cNvSpPr/>
          <p:nvPr/>
        </p:nvSpPr>
        <p:spPr>
          <a:xfrm>
            <a:off x="285074" y="6138264"/>
            <a:ext cx="3104156" cy="391686"/>
          </a:xfrm>
          <a:prstGeom prst="homePlate">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Historical data</a:t>
            </a:r>
          </a:p>
        </p:txBody>
      </p:sp>
      <p:sp useBgFill="1">
        <p:nvSpPr>
          <p:cNvPr id="17" name="Rectangle 16"/>
          <p:cNvSpPr/>
          <p:nvPr/>
        </p:nvSpPr>
        <p:spPr bwMode="auto">
          <a:xfrm>
            <a:off x="881" y="1736850"/>
            <a:ext cx="284532" cy="52571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7" name="Chevron 26"/>
          <p:cNvSpPr/>
          <p:nvPr/>
        </p:nvSpPr>
        <p:spPr bwMode="auto">
          <a:xfrm>
            <a:off x="3191304" y="6138264"/>
            <a:ext cx="266736" cy="391686"/>
          </a:xfrm>
          <a:prstGeom prst="chevron">
            <a:avLst>
              <a:gd name="adj" fmla="val 7438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66" name="Chevron 65"/>
          <p:cNvSpPr/>
          <p:nvPr/>
        </p:nvSpPr>
        <p:spPr bwMode="auto">
          <a:xfrm>
            <a:off x="6163273" y="6138264"/>
            <a:ext cx="266736" cy="391686"/>
          </a:xfrm>
          <a:prstGeom prst="chevron">
            <a:avLst>
              <a:gd name="adj" fmla="val 74387"/>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67" name="Chevron 66"/>
          <p:cNvSpPr/>
          <p:nvPr/>
        </p:nvSpPr>
        <p:spPr bwMode="auto">
          <a:xfrm>
            <a:off x="9140888" y="6138264"/>
            <a:ext cx="266736" cy="391686"/>
          </a:xfrm>
          <a:prstGeom prst="chevron">
            <a:avLst>
              <a:gd name="adj" fmla="val 74387"/>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p:cNvGrpSpPr/>
          <p:nvPr/>
        </p:nvGrpSpPr>
        <p:grpSpPr>
          <a:xfrm>
            <a:off x="1296628" y="2522597"/>
            <a:ext cx="1011290" cy="749382"/>
            <a:chOff x="825814" y="2980697"/>
            <a:chExt cx="1576562" cy="1230347"/>
          </a:xfrm>
        </p:grpSpPr>
        <p:grpSp>
          <p:nvGrpSpPr>
            <p:cNvPr id="46" name="Group 45"/>
            <p:cNvGrpSpPr/>
            <p:nvPr/>
          </p:nvGrpSpPr>
          <p:grpSpPr>
            <a:xfrm>
              <a:off x="825814" y="2980697"/>
              <a:ext cx="1576562" cy="1230347"/>
              <a:chOff x="783897" y="2864251"/>
              <a:chExt cx="1304167" cy="1309886"/>
            </a:xfrm>
          </p:grpSpPr>
          <p:sp>
            <p:nvSpPr>
              <p:cNvPr id="57" name="Rectangle 56"/>
              <p:cNvSpPr/>
              <p:nvPr/>
            </p:nvSpPr>
            <p:spPr bwMode="auto">
              <a:xfrm>
                <a:off x="783897" y="3527098"/>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algn="ct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SQL DB</a:t>
                </a:r>
              </a:p>
            </p:txBody>
          </p:sp>
          <p:sp>
            <p:nvSpPr>
              <p:cNvPr id="58" name="Rectangle 57"/>
              <p:cNvSpPr/>
              <p:nvPr/>
            </p:nvSpPr>
            <p:spPr bwMode="auto">
              <a:xfrm>
                <a:off x="1441025" y="3527098"/>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Blobs &amp; tables</a:t>
                </a:r>
              </a:p>
            </p:txBody>
          </p:sp>
          <p:sp>
            <p:nvSpPr>
              <p:cNvPr id="59" name="Rectangle 58"/>
              <p:cNvSpPr/>
              <p:nvPr/>
            </p:nvSpPr>
            <p:spPr bwMode="auto">
              <a:xfrm>
                <a:off x="783897" y="2864251"/>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HDInsight</a:t>
                </a:r>
              </a:p>
            </p:txBody>
          </p:sp>
          <p:sp>
            <p:nvSpPr>
              <p:cNvPr id="60" name="Rectangle 59"/>
              <p:cNvSpPr/>
              <p:nvPr/>
            </p:nvSpPr>
            <p:spPr bwMode="auto">
              <a:xfrm>
                <a:off x="1441025" y="2864251"/>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SQL Server VM</a:t>
                </a:r>
              </a:p>
            </p:txBody>
          </p:sp>
        </p:grpSp>
        <p:grpSp>
          <p:nvGrpSpPr>
            <p:cNvPr id="47" name="Group 46"/>
            <p:cNvGrpSpPr>
              <a:grpSpLocks noChangeAspect="1"/>
            </p:cNvGrpSpPr>
            <p:nvPr/>
          </p:nvGrpSpPr>
          <p:grpSpPr>
            <a:xfrm>
              <a:off x="1111453" y="3857729"/>
              <a:ext cx="229571" cy="298122"/>
              <a:chOff x="377825" y="1184276"/>
              <a:chExt cx="1020763" cy="1325563"/>
            </a:xfrm>
            <a:solidFill>
              <a:schemeClr val="tx2"/>
            </a:solidFill>
          </p:grpSpPr>
          <p:sp>
            <p:nvSpPr>
              <p:cNvPr id="5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14224">
                  <a:defRPr/>
                </a:pPr>
                <a:endParaRPr lang="en-US" sz="2000" kern="0" dirty="0">
                  <a:solidFill>
                    <a:srgbClr val="505050"/>
                  </a:solidFill>
                </a:endParaRPr>
              </a:p>
            </p:txBody>
          </p:sp>
          <p:sp>
            <p:nvSpPr>
              <p:cNvPr id="5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14224">
                  <a:defRPr/>
                </a:pPr>
                <a:endParaRPr lang="en-US" sz="2000" kern="0" dirty="0">
                  <a:solidFill>
                    <a:srgbClr val="505050"/>
                  </a:solidFill>
                </a:endParaRPr>
              </a:p>
            </p:txBody>
          </p:sp>
        </p:grpSp>
      </p:grpSp>
      <p:pic>
        <p:nvPicPr>
          <p:cNvPr id="61" name="Picture 60" descr="FuckingElephant.png"/>
          <p:cNvPicPr>
            <a:picLocks noChangeAspect="1"/>
          </p:cNvPicPr>
          <p:nvPr/>
        </p:nvPicPr>
        <p:blipFill>
          <a:blip r:embed="rId10" cstate="print"/>
          <a:stretch>
            <a:fillRect/>
          </a:stretch>
        </p:blipFill>
        <p:spPr>
          <a:xfrm>
            <a:off x="1428802" y="2653001"/>
            <a:ext cx="278551" cy="211887"/>
          </a:xfrm>
          <a:prstGeom prst="rect">
            <a:avLst/>
          </a:prstGeom>
        </p:spPr>
      </p:pic>
    </p:spTree>
    <p:extLst>
      <p:ext uri="{BB962C8B-B14F-4D97-AF65-F5344CB8AC3E}">
        <p14:creationId xmlns:p14="http://schemas.microsoft.com/office/powerpoint/2010/main" val="2992866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1000" fill="hold"/>
                                        <p:tgtEl>
                                          <p:spTgt spid="50"/>
                                        </p:tgtEl>
                                        <p:attrNameLst>
                                          <p:attrName>ppt_x</p:attrName>
                                        </p:attrNameLst>
                                      </p:cBhvr>
                                      <p:tavLst>
                                        <p:tav tm="0">
                                          <p:val>
                                            <p:strVal val="0-#ppt_w/2"/>
                                          </p:val>
                                        </p:tav>
                                        <p:tav tm="100000">
                                          <p:val>
                                            <p:strVal val="#ppt_x"/>
                                          </p:val>
                                        </p:tav>
                                      </p:tavLst>
                                    </p:anim>
                                    <p:anim calcmode="lin" valueType="num">
                                      <p:cBhvr additive="base">
                                        <p:cTn id="8" dur="1000" fill="hold"/>
                                        <p:tgtEl>
                                          <p:spTgt spid="50"/>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45"/>
                                        </p:tgtEl>
                                        <p:attrNameLst>
                                          <p:attrName>style.visibility</p:attrName>
                                        </p:attrNameLst>
                                      </p:cBhvr>
                                      <p:to>
                                        <p:strVal val="visible"/>
                                      </p:to>
                                    </p:set>
                                    <p:animEffect transition="in" filter="fade">
                                      <p:cBhvr>
                                        <p:cTn id="14" dur="500"/>
                                        <p:tgtEl>
                                          <p:spTgt spid="45"/>
                                        </p:tgtEl>
                                      </p:cBhvr>
                                    </p:animEffect>
                                  </p:childTnLst>
                                </p:cTn>
                              </p:par>
                              <p:par>
                                <p:cTn id="15" presetID="10" presetClass="entr" presetSubtype="0" fill="hold" nodeType="withEffect">
                                  <p:stCondLst>
                                    <p:cond delay="500"/>
                                  </p:stCondLst>
                                  <p:childTnLst>
                                    <p:set>
                                      <p:cBhvr>
                                        <p:cTn id="16" dur="1" fill="hold">
                                          <p:stCondLst>
                                            <p:cond delay="0"/>
                                          </p:stCondLst>
                                        </p:cTn>
                                        <p:tgtEl>
                                          <p:spTgt spid="61"/>
                                        </p:tgtEl>
                                        <p:attrNameLst>
                                          <p:attrName>style.visibility</p:attrName>
                                        </p:attrNameLst>
                                      </p:cBhvr>
                                      <p:to>
                                        <p:strVal val="visible"/>
                                      </p:to>
                                    </p:set>
                                    <p:animEffect transition="in" filter="fade">
                                      <p:cBhvr>
                                        <p:cTn id="17" dur="500"/>
                                        <p:tgtEl>
                                          <p:spTgt spid="61"/>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wipe(left)">
                                      <p:cBhvr>
                                        <p:cTn id="21" dur="500"/>
                                        <p:tgtEl>
                                          <p:spTgt spid="56"/>
                                        </p:tgtEl>
                                      </p:cBhvr>
                                    </p:animEffect>
                                  </p:childTnLst>
                                </p:cTn>
                              </p:par>
                              <p:par>
                                <p:cTn id="22" presetID="2" presetClass="entr" presetSubtype="8" decel="10000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 calcmode="lin" valueType="num">
                                      <p:cBhvr additive="base">
                                        <p:cTn id="24" dur="1000" fill="hold"/>
                                        <p:tgtEl>
                                          <p:spTgt spid="51"/>
                                        </p:tgtEl>
                                        <p:attrNameLst>
                                          <p:attrName>ppt_x</p:attrName>
                                        </p:attrNameLst>
                                      </p:cBhvr>
                                      <p:tavLst>
                                        <p:tav tm="0">
                                          <p:val>
                                            <p:strVal val="0-#ppt_w/2"/>
                                          </p:val>
                                        </p:tav>
                                        <p:tav tm="100000">
                                          <p:val>
                                            <p:strVal val="#ppt_x"/>
                                          </p:val>
                                        </p:tav>
                                      </p:tavLst>
                                    </p:anim>
                                    <p:anim calcmode="lin" valueType="num">
                                      <p:cBhvr additive="base">
                                        <p:cTn id="25" dur="1000" fill="hold"/>
                                        <p:tgtEl>
                                          <p:spTgt spid="51"/>
                                        </p:tgtEl>
                                        <p:attrNameLst>
                                          <p:attrName>ppt_y</p:attrName>
                                        </p:attrNameLst>
                                      </p:cBhvr>
                                      <p:tavLst>
                                        <p:tav tm="0">
                                          <p:val>
                                            <p:strVal val="#ppt_y"/>
                                          </p:val>
                                        </p:tav>
                                        <p:tav tm="100000">
                                          <p:val>
                                            <p:strVal val="#ppt_y"/>
                                          </p:val>
                                        </p:tav>
                                      </p:tavLst>
                                    </p:anim>
                                  </p:childTnLst>
                                </p:cTn>
                              </p:par>
                              <p:par>
                                <p:cTn id="26" presetID="10"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childTnLst>
                          </p:cTn>
                        </p:par>
                        <p:par>
                          <p:cTn id="29" fill="hold">
                            <p:stCondLst>
                              <p:cond delay="2000"/>
                            </p:stCondLst>
                            <p:childTnLst>
                              <p:par>
                                <p:cTn id="30" presetID="22" presetClass="entr" presetSubtype="8" fill="hold"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wipe(left)">
                                      <p:cBhvr>
                                        <p:cTn id="32" dur="500"/>
                                        <p:tgtEl>
                                          <p:spTgt spid="8"/>
                                        </p:tgtEl>
                                      </p:cBhvr>
                                    </p:animEffect>
                                  </p:childTnLst>
                                </p:cTn>
                              </p:par>
                              <p:par>
                                <p:cTn id="33" presetID="2" presetClass="entr" presetSubtype="8" decel="100000"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additive="base">
                                        <p:cTn id="35" dur="1000" fill="hold"/>
                                        <p:tgtEl>
                                          <p:spTgt spid="52"/>
                                        </p:tgtEl>
                                        <p:attrNameLst>
                                          <p:attrName>ppt_x</p:attrName>
                                        </p:attrNameLst>
                                      </p:cBhvr>
                                      <p:tavLst>
                                        <p:tav tm="0">
                                          <p:val>
                                            <p:strVal val="0-#ppt_w/2"/>
                                          </p:val>
                                        </p:tav>
                                        <p:tav tm="100000">
                                          <p:val>
                                            <p:strVal val="#ppt_x"/>
                                          </p:val>
                                        </p:tav>
                                      </p:tavLst>
                                    </p:anim>
                                    <p:anim calcmode="lin" valueType="num">
                                      <p:cBhvr additive="base">
                                        <p:cTn id="36" dur="1000" fill="hold"/>
                                        <p:tgtEl>
                                          <p:spTgt spid="52"/>
                                        </p:tgtEl>
                                        <p:attrNameLst>
                                          <p:attrName>ppt_y</p:attrName>
                                        </p:attrNameLst>
                                      </p:cBhvr>
                                      <p:tavLst>
                                        <p:tav tm="0">
                                          <p:val>
                                            <p:strVal val="#ppt_y"/>
                                          </p:val>
                                        </p:tav>
                                        <p:tav tm="100000">
                                          <p:val>
                                            <p:strVal val="#ppt_y"/>
                                          </p:val>
                                        </p:tav>
                                      </p:tavLst>
                                    </p:anim>
                                  </p:childTnLst>
                                </p:cTn>
                              </p:par>
                              <p:par>
                                <p:cTn id="37" presetID="10" presetClass="entr" presetSubtype="0" fill="hold" nodeType="withEffect">
                                  <p:stCondLst>
                                    <p:cond delay="50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3000"/>
                            </p:stCondLst>
                            <p:childTnLst>
                              <p:par>
                                <p:cTn id="41" presetID="22" presetClass="entr" presetSubtype="8" fill="hold" nodeType="after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wipe(left)">
                                      <p:cBhvr>
                                        <p:cTn id="43" dur="500"/>
                                        <p:tgtEl>
                                          <p:spTgt spid="149"/>
                                        </p:tgtEl>
                                      </p:cBhvr>
                                    </p:animEffect>
                                  </p:childTnLst>
                                </p:cTn>
                              </p:par>
                              <p:par>
                                <p:cTn id="44" presetID="2" presetClass="entr" presetSubtype="8" decel="100000" fill="hold" grpId="0" nodeType="with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additive="base">
                                        <p:cTn id="46" dur="1000" fill="hold"/>
                                        <p:tgtEl>
                                          <p:spTgt spid="53"/>
                                        </p:tgtEl>
                                        <p:attrNameLst>
                                          <p:attrName>ppt_x</p:attrName>
                                        </p:attrNameLst>
                                      </p:cBhvr>
                                      <p:tavLst>
                                        <p:tav tm="0">
                                          <p:val>
                                            <p:strVal val="0-#ppt_w/2"/>
                                          </p:val>
                                        </p:tav>
                                        <p:tav tm="100000">
                                          <p:val>
                                            <p:strVal val="#ppt_x"/>
                                          </p:val>
                                        </p:tav>
                                      </p:tavLst>
                                    </p:anim>
                                    <p:anim calcmode="lin" valueType="num">
                                      <p:cBhvr additive="base">
                                        <p:cTn id="47" dur="1000" fill="hold"/>
                                        <p:tgtEl>
                                          <p:spTgt spid="53"/>
                                        </p:tgtEl>
                                        <p:attrNameLst>
                                          <p:attrName>ppt_y</p:attrName>
                                        </p:attrNameLst>
                                      </p:cBhvr>
                                      <p:tavLst>
                                        <p:tav tm="0">
                                          <p:val>
                                            <p:strVal val="#ppt_y"/>
                                          </p:val>
                                        </p:tav>
                                        <p:tav tm="100000">
                                          <p:val>
                                            <p:strVal val="#ppt_y"/>
                                          </p:val>
                                        </p:tav>
                                      </p:tavLst>
                                    </p:anim>
                                  </p:childTnLst>
                                </p:cTn>
                              </p:par>
                              <p:par>
                                <p:cTn id="48" presetID="10" presetClass="entr" presetSubtype="0" fill="hold" nodeType="withEffect">
                                  <p:stCondLst>
                                    <p:cond delay="50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2" grpId="0" animBg="1"/>
      <p:bldP spid="51" grpId="0" animBg="1"/>
      <p:bldP spid="5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bwMode="auto">
          <a:xfrm>
            <a:off x="3174324" y="1119848"/>
            <a:ext cx="6087826" cy="1962718"/>
          </a:xfrm>
          <a:prstGeom prst="rect">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21" name="Rectangle 220"/>
          <p:cNvSpPr/>
          <p:nvPr/>
        </p:nvSpPr>
        <p:spPr>
          <a:xfrm>
            <a:off x="3406114" y="1588793"/>
            <a:ext cx="1657543" cy="1242825"/>
          </a:xfrm>
          <a:prstGeom prst="rect">
            <a:avLst/>
          </a:prstGeom>
          <a:solidFill>
            <a:srgbClr val="236C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MapReduce &amp; </a:t>
            </a:r>
            <a:r>
              <a:rPr kumimoji="0" lang="en-US" sz="2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Tez</a:t>
            </a:r>
            <a:endPar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sp>
        <p:nvSpPr>
          <p:cNvPr id="3" name="Rectangle 2"/>
          <p:cNvSpPr/>
          <p:nvPr/>
        </p:nvSpPr>
        <p:spPr>
          <a:xfrm>
            <a:off x="7367854" y="1574383"/>
            <a:ext cx="1657543" cy="1242825"/>
          </a:xfrm>
          <a:prstGeom prst="rect">
            <a:avLst/>
          </a:prstGeom>
          <a:solidFill>
            <a:srgbClr val="236C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Data Lake Analytics</a:t>
            </a:r>
          </a:p>
        </p:txBody>
      </p:sp>
      <p:sp>
        <p:nvSpPr>
          <p:cNvPr id="102" name="Rectangle 101"/>
          <p:cNvSpPr/>
          <p:nvPr/>
        </p:nvSpPr>
        <p:spPr bwMode="auto">
          <a:xfrm>
            <a:off x="3174324" y="4616602"/>
            <a:ext cx="6087826" cy="198958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rPr>
              <a:t>Data Lake Store</a:t>
            </a:r>
          </a:p>
        </p:txBody>
      </p:sp>
      <p:sp>
        <p:nvSpPr>
          <p:cNvPr id="104" name="Rectangle 103"/>
          <p:cNvSpPr/>
          <p:nvPr/>
        </p:nvSpPr>
        <p:spPr bwMode="auto">
          <a:xfrm>
            <a:off x="3174324" y="3072601"/>
            <a:ext cx="6087826" cy="526942"/>
          </a:xfrm>
          <a:prstGeom prst="rect">
            <a:avLst/>
          </a:prstGeom>
          <a:solidFill>
            <a:srgbClr val="2A80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5434" tIns="124347" rIns="155434" bIns="12434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92508" rtl="0" eaLnBrk="1" fontAlgn="base" latinLnBrk="0" hangingPunct="1">
              <a:lnSpc>
                <a:spcPct val="90000"/>
              </a:lnSpc>
              <a:spcBef>
                <a:spcPct val="0"/>
              </a:spcBef>
              <a:spcAft>
                <a:spcPct val="0"/>
              </a:spcAft>
              <a:buClrTx/>
              <a:buSzTx/>
              <a:buFontTx/>
              <a:buNone/>
              <a:tabLst/>
              <a:defRPr/>
            </a:pPr>
            <a:endParaRPr kumimoji="0" lang="en-US" sz="1700" b="1" i="0" u="none" strike="noStrike" kern="120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9" name="Rectangle 118"/>
          <p:cNvSpPr/>
          <p:nvPr/>
        </p:nvSpPr>
        <p:spPr bwMode="auto">
          <a:xfrm>
            <a:off x="3174324" y="4223151"/>
            <a:ext cx="6087826" cy="409812"/>
          </a:xfrm>
          <a:prstGeom prst="rect">
            <a:avLst/>
          </a:prstGeom>
          <a:solidFill>
            <a:srgbClr val="008A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5434" tIns="124347" rIns="155434" bIns="12434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9250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err="1">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rPr>
              <a:t>WebHDFS</a:t>
            </a:r>
            <a:endParaRPr kumimoji="0" lang="en-US" sz="2000" b="0" i="0" u="none" strike="noStrike" kern="120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20" name="Trapezoid 119"/>
          <p:cNvSpPr/>
          <p:nvPr/>
        </p:nvSpPr>
        <p:spPr bwMode="auto">
          <a:xfrm flipV="1">
            <a:off x="4408164" y="3002313"/>
            <a:ext cx="1261805" cy="318839"/>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21" name="Trapezoid 120"/>
          <p:cNvSpPr/>
          <p:nvPr/>
        </p:nvSpPr>
        <p:spPr bwMode="auto">
          <a:xfrm flipV="1">
            <a:off x="6799454" y="3002313"/>
            <a:ext cx="1261805" cy="318839"/>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22" name="TextBox 13"/>
          <p:cNvSpPr txBox="1"/>
          <p:nvPr/>
        </p:nvSpPr>
        <p:spPr>
          <a:xfrm>
            <a:off x="5861269" y="3079894"/>
            <a:ext cx="818978" cy="486572"/>
          </a:xfrm>
          <a:prstGeom prst="rect">
            <a:avLst/>
          </a:prstGeom>
          <a:noFill/>
        </p:spPr>
        <p:txBody>
          <a:bodyPr wrap="none" lIns="155434" tIns="124347" rIns="155434" bIns="12434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77149" rtl="0" eaLnBrk="1" fontAlgn="auto" latinLnBrk="0" hangingPunct="1">
              <a:lnSpc>
                <a:spcPct val="90000"/>
              </a:lnSpc>
              <a:spcBef>
                <a:spcPts val="0"/>
              </a:spcBef>
              <a:spcAft>
                <a:spcPts val="510"/>
              </a:spcAft>
              <a:buClrTx/>
              <a:buSzTx/>
              <a:buFontTx/>
              <a:buNone/>
              <a:tabLst/>
              <a:defRPr/>
            </a:pPr>
            <a:r>
              <a:rPr kumimoji="0" lang="en-US" sz="17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YARN</a:t>
            </a:r>
          </a:p>
        </p:txBody>
      </p:sp>
      <p:grpSp>
        <p:nvGrpSpPr>
          <p:cNvPr id="167" name="Group 166"/>
          <p:cNvGrpSpPr/>
          <p:nvPr/>
        </p:nvGrpSpPr>
        <p:grpSpPr>
          <a:xfrm>
            <a:off x="3767091" y="5158462"/>
            <a:ext cx="5186743" cy="1338955"/>
            <a:chOff x="5643352" y="6249485"/>
            <a:chExt cx="6102604" cy="1575384"/>
          </a:xfrm>
          <a:solidFill>
            <a:srgbClr val="008A3E"/>
          </a:solidFill>
        </p:grpSpPr>
        <p:grpSp>
          <p:nvGrpSpPr>
            <p:cNvPr id="168" name="Group 167"/>
            <p:cNvGrpSpPr/>
            <p:nvPr/>
          </p:nvGrpSpPr>
          <p:grpSpPr>
            <a:xfrm>
              <a:off x="5643352" y="6249485"/>
              <a:ext cx="974009" cy="1575384"/>
              <a:chOff x="5643352" y="6249485"/>
              <a:chExt cx="974009" cy="1575384"/>
            </a:xfrm>
            <a:grpFill/>
          </p:grpSpPr>
          <p:sp>
            <p:nvSpPr>
              <p:cNvPr id="184" name="Rounded Rectangle 183"/>
              <p:cNvSpPr>
                <a:spLocks/>
              </p:cNvSpPr>
              <p:nvPr/>
            </p:nvSpPr>
            <p:spPr>
              <a:xfrm>
                <a:off x="5643352"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85" name="Rounded Rectangle 184"/>
              <p:cNvSpPr>
                <a:spLocks/>
              </p:cNvSpPr>
              <p:nvPr/>
            </p:nvSpPr>
            <p:spPr>
              <a:xfrm>
                <a:off x="5643352"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69" name="Group 168"/>
            <p:cNvGrpSpPr/>
            <p:nvPr/>
          </p:nvGrpSpPr>
          <p:grpSpPr>
            <a:xfrm>
              <a:off x="6669071" y="6249485"/>
              <a:ext cx="974009" cy="1575384"/>
              <a:chOff x="6669540" y="6249485"/>
              <a:chExt cx="974009" cy="1575384"/>
            </a:xfrm>
            <a:grpFill/>
          </p:grpSpPr>
          <p:sp>
            <p:nvSpPr>
              <p:cNvPr id="182" name="Rounded Rectangle 181"/>
              <p:cNvSpPr>
                <a:spLocks/>
              </p:cNvSpPr>
              <p:nvPr/>
            </p:nvSpPr>
            <p:spPr>
              <a:xfrm>
                <a:off x="6669540"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83" name="Rounded Rectangle 182"/>
              <p:cNvSpPr>
                <a:spLocks/>
              </p:cNvSpPr>
              <p:nvPr/>
            </p:nvSpPr>
            <p:spPr>
              <a:xfrm>
                <a:off x="6669540"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0" name="Group 169"/>
            <p:cNvGrpSpPr/>
            <p:nvPr/>
          </p:nvGrpSpPr>
          <p:grpSpPr>
            <a:xfrm>
              <a:off x="7694790" y="6249485"/>
              <a:ext cx="974009" cy="1575384"/>
              <a:chOff x="7699832" y="6249485"/>
              <a:chExt cx="974009" cy="1575384"/>
            </a:xfrm>
            <a:grpFill/>
          </p:grpSpPr>
          <p:sp>
            <p:nvSpPr>
              <p:cNvPr id="180" name="Rounded Rectangle 179"/>
              <p:cNvSpPr>
                <a:spLocks/>
              </p:cNvSpPr>
              <p:nvPr/>
            </p:nvSpPr>
            <p:spPr>
              <a:xfrm>
                <a:off x="7699832"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81" name="Rounded Rectangle 180"/>
              <p:cNvSpPr>
                <a:spLocks/>
              </p:cNvSpPr>
              <p:nvPr/>
            </p:nvSpPr>
            <p:spPr>
              <a:xfrm>
                <a:off x="7699832"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1" name="Group 170"/>
            <p:cNvGrpSpPr/>
            <p:nvPr/>
          </p:nvGrpSpPr>
          <p:grpSpPr>
            <a:xfrm>
              <a:off x="9746228" y="6249485"/>
              <a:ext cx="974009" cy="1575384"/>
              <a:chOff x="9745759" y="6249485"/>
              <a:chExt cx="974009" cy="1575384"/>
            </a:xfrm>
            <a:grpFill/>
          </p:grpSpPr>
          <p:sp>
            <p:nvSpPr>
              <p:cNvPr id="178" name="Rounded Rectangle 177"/>
              <p:cNvSpPr>
                <a:spLocks/>
              </p:cNvSpPr>
              <p:nvPr/>
            </p:nvSpPr>
            <p:spPr>
              <a:xfrm>
                <a:off x="9745759"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79" name="Rounded Rectangle 178"/>
              <p:cNvSpPr>
                <a:spLocks/>
              </p:cNvSpPr>
              <p:nvPr/>
            </p:nvSpPr>
            <p:spPr>
              <a:xfrm>
                <a:off x="9745759"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2" name="Group 171"/>
            <p:cNvGrpSpPr/>
            <p:nvPr/>
          </p:nvGrpSpPr>
          <p:grpSpPr>
            <a:xfrm>
              <a:off x="10771947" y="6249485"/>
              <a:ext cx="974009" cy="1575384"/>
              <a:chOff x="10771947" y="6249485"/>
              <a:chExt cx="974009" cy="1575384"/>
            </a:xfrm>
            <a:grpFill/>
          </p:grpSpPr>
          <p:sp>
            <p:nvSpPr>
              <p:cNvPr id="176" name="Rounded Rectangle 175"/>
              <p:cNvSpPr>
                <a:spLocks/>
              </p:cNvSpPr>
              <p:nvPr/>
            </p:nvSpPr>
            <p:spPr>
              <a:xfrm>
                <a:off x="10771947"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77" name="Rounded Rectangle 176"/>
              <p:cNvSpPr>
                <a:spLocks/>
              </p:cNvSpPr>
              <p:nvPr/>
            </p:nvSpPr>
            <p:spPr>
              <a:xfrm>
                <a:off x="10771947"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3" name="Group 172"/>
            <p:cNvGrpSpPr/>
            <p:nvPr/>
          </p:nvGrpSpPr>
          <p:grpSpPr>
            <a:xfrm>
              <a:off x="8720509" y="6249485"/>
              <a:ext cx="974009" cy="1575384"/>
              <a:chOff x="8733139" y="6249485"/>
              <a:chExt cx="974009" cy="1575384"/>
            </a:xfrm>
            <a:grpFill/>
          </p:grpSpPr>
          <p:sp>
            <p:nvSpPr>
              <p:cNvPr id="174" name="Rounded Rectangle 173"/>
              <p:cNvSpPr>
                <a:spLocks/>
              </p:cNvSpPr>
              <p:nvPr/>
            </p:nvSpPr>
            <p:spPr>
              <a:xfrm>
                <a:off x="8733139"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75" name="Rounded Rectangle 174"/>
              <p:cNvSpPr>
                <a:spLocks/>
              </p:cNvSpPr>
              <p:nvPr/>
            </p:nvSpPr>
            <p:spPr>
              <a:xfrm>
                <a:off x="8733139"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sp>
        <p:nvSpPr>
          <p:cNvPr id="186" name="Freeform 5"/>
          <p:cNvSpPr>
            <a:spLocks noEditPoints="1"/>
          </p:cNvSpPr>
          <p:nvPr/>
        </p:nvSpPr>
        <p:spPr bwMode="auto">
          <a:xfrm>
            <a:off x="3979892" y="5290206"/>
            <a:ext cx="396565" cy="374974"/>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92D050"/>
          </a:solidFill>
          <a:ln>
            <a:noFill/>
          </a:ln>
        </p:spPr>
        <p:txBody>
          <a:bodyPr vert="horz" wrap="square" lIns="23809" tIns="23809" rIns="0" bIns="23809" numCol="1" anchor="t" anchorCtr="0" compatLnSpc="1">
            <a:prstTxWarp prst="textNoShape">
              <a:avLst/>
            </a:prstTxWarp>
          </a:bodyPr>
          <a:lstStyle/>
          <a:p>
            <a:pPr marL="0" marR="0" lvl="0" indent="0" defTabSz="485718" eaLnBrk="1" fontAlgn="auto" latinLnBrk="0" hangingPunct="1">
              <a:lnSpc>
                <a:spcPct val="100000"/>
              </a:lnSpc>
              <a:spcBef>
                <a:spcPts val="0"/>
              </a:spcBef>
              <a:spcAft>
                <a:spcPts val="0"/>
              </a:spcAft>
              <a:buClrTx/>
              <a:buSzTx/>
              <a:buFontTx/>
              <a:buNone/>
              <a:tabLst/>
              <a:defRPr/>
            </a:pPr>
            <a:endParaRPr kumimoji="0" lang="en-US" sz="680" b="0" i="0" u="none" strike="noStrike" kern="0" cap="none" spc="0" normalizeH="0" baseline="0" noProof="0">
              <a:ln>
                <a:noFill/>
              </a:ln>
              <a:solidFill>
                <a:schemeClr val="bg1"/>
              </a:solidFill>
              <a:effectLst/>
              <a:uLnTx/>
              <a:uFillTx/>
            </a:endParaRPr>
          </a:p>
        </p:txBody>
      </p:sp>
      <p:grpSp>
        <p:nvGrpSpPr>
          <p:cNvPr id="187" name="Group 186"/>
          <p:cNvGrpSpPr/>
          <p:nvPr/>
        </p:nvGrpSpPr>
        <p:grpSpPr>
          <a:xfrm>
            <a:off x="4748464" y="5281255"/>
            <a:ext cx="661153" cy="416058"/>
            <a:chOff x="2769908" y="1409697"/>
            <a:chExt cx="1965320" cy="1055586"/>
          </a:xfrm>
          <a:solidFill>
            <a:srgbClr val="92D050"/>
          </a:solidFill>
        </p:grpSpPr>
        <p:sp>
          <p:nvSpPr>
            <p:cNvPr id="188"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23809" rIns="0" rtlCol="0" anchor="ctr"/>
            <a:lstStyle/>
            <a:p>
              <a:pPr marL="0" marR="0" lvl="0" indent="0" defTabSz="476149" eaLnBrk="1" fontAlgn="auto" latinLnBrk="0" hangingPunct="1">
                <a:lnSpc>
                  <a:spcPct val="100000"/>
                </a:lnSpc>
                <a:spcBef>
                  <a:spcPts val="0"/>
                </a:spcBef>
                <a:spcAft>
                  <a:spcPts val="0"/>
                </a:spcAft>
                <a:buClrTx/>
                <a:buSzTx/>
                <a:buFontTx/>
                <a:buNone/>
                <a:tabLst/>
                <a:defRPr/>
              </a:pPr>
              <a:endParaRPr kumimoji="0" lang="en-US" sz="680" b="0" i="0" u="none" strike="noStrike" kern="0" cap="none" spc="0" normalizeH="0" baseline="0" noProof="0">
                <a:ln>
                  <a:noFill/>
                </a:ln>
                <a:solidFill>
                  <a:schemeClr val="bg1"/>
                </a:solidFill>
                <a:effectLst/>
                <a:uLnTx/>
                <a:uFillTx/>
              </a:endParaRPr>
            </a:p>
          </p:txBody>
        </p:sp>
        <p:sp>
          <p:nvSpPr>
            <p:cNvPr id="189"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23809" tIns="23809" rIns="0" bIns="47618" numCol="1" spcCol="0" rtlCol="0" fromWordArt="0" anchor="b" anchorCtr="0" forceAA="0" compatLnSpc="1">
              <a:prstTxWarp prst="textNoShape">
                <a:avLst/>
              </a:prstTxWarp>
              <a:noAutofit/>
            </a:bodyPr>
            <a:lstStyle/>
            <a:p>
              <a:pPr marL="0" marR="0" lvl="0" indent="0" defTabSz="475992" eaLnBrk="1" fontAlgn="base" latinLnBrk="0" hangingPunct="1">
                <a:lnSpc>
                  <a:spcPct val="100000"/>
                </a:lnSpc>
                <a:spcBef>
                  <a:spcPct val="0"/>
                </a:spcBef>
                <a:spcAft>
                  <a:spcPct val="0"/>
                </a:spcAft>
                <a:buClrTx/>
                <a:buSzTx/>
                <a:buFontTx/>
                <a:buNone/>
                <a:tabLst/>
                <a:defRPr/>
              </a:pPr>
              <a:endParaRPr kumimoji="0" lang="en-US" sz="680" b="0" i="0" u="none" strike="noStrike" kern="0" cap="none" spc="-26" normalizeH="0" baseline="0" noProof="0" dirty="0" err="1">
                <a:ln>
                  <a:noFill/>
                </a:ln>
                <a:solidFill>
                  <a:schemeClr val="bg1"/>
                </a:solidFill>
                <a:effectLst/>
                <a:uLnTx/>
                <a:uFillTx/>
                <a:ea typeface="Segoe UI" pitchFamily="34" charset="0"/>
                <a:cs typeface="Segoe UI" pitchFamily="34" charset="0"/>
              </a:endParaRPr>
            </a:p>
          </p:txBody>
        </p:sp>
        <p:sp>
          <p:nvSpPr>
            <p:cNvPr id="190"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23809" tIns="23808" rIns="0" bIns="23808" numCol="1" rtlCol="0" anchor="ctr" anchorCtr="0" compatLnSpc="1">
              <a:prstTxWarp prst="textNoShape">
                <a:avLst/>
              </a:prstTxWarp>
            </a:bodyPr>
            <a:lstStyle/>
            <a:p>
              <a:pPr marL="0" marR="0" lvl="0" indent="0" defTabSz="428531" eaLnBrk="1" fontAlgn="auto" latinLnBrk="0" hangingPunct="1">
                <a:lnSpc>
                  <a:spcPct val="100000"/>
                </a:lnSpc>
                <a:spcBef>
                  <a:spcPts val="0"/>
                </a:spcBef>
                <a:spcAft>
                  <a:spcPts val="0"/>
                </a:spcAft>
                <a:buClrTx/>
                <a:buSzTx/>
                <a:buFontTx/>
                <a:buNone/>
                <a:tabLst/>
                <a:defRPr/>
              </a:pPr>
              <a:endParaRPr kumimoji="0" lang="en-US" sz="680" b="0" i="0" u="none" strike="noStrike" kern="0" cap="none" spc="-71" normalizeH="0" baseline="0" noProof="0" dirty="0">
                <a:ln>
                  <a:noFill/>
                </a:ln>
                <a:solidFill>
                  <a:schemeClr val="bg1"/>
                </a:solidFill>
                <a:effectLst/>
                <a:uLnTx/>
                <a:uFillTx/>
              </a:endParaRPr>
            </a:p>
          </p:txBody>
        </p:sp>
      </p:grpSp>
      <p:sp>
        <p:nvSpPr>
          <p:cNvPr id="191" name="Rounded Rectangle 18"/>
          <p:cNvSpPr/>
          <p:nvPr/>
        </p:nvSpPr>
        <p:spPr bwMode="auto">
          <a:xfrm>
            <a:off x="5703825" y="5267957"/>
            <a:ext cx="432445" cy="449561"/>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23809" tIns="23809" rIns="0" bIns="47618" numCol="1" spcCol="0" rtlCol="0" fromWordArt="0" anchor="b" anchorCtr="0" forceAA="0" compatLnSpc="1">
            <a:prstTxWarp prst="textNoShape">
              <a:avLst/>
            </a:prstTxWarp>
            <a:noAutofit/>
          </a:bodyPr>
          <a:lstStyle/>
          <a:p>
            <a:pPr marL="0" marR="0" lvl="0" indent="0" defTabSz="475992" eaLnBrk="1" fontAlgn="base" latinLnBrk="0" hangingPunct="1">
              <a:lnSpc>
                <a:spcPct val="100000"/>
              </a:lnSpc>
              <a:spcBef>
                <a:spcPct val="0"/>
              </a:spcBef>
              <a:spcAft>
                <a:spcPct val="0"/>
              </a:spcAft>
              <a:buClrTx/>
              <a:buSzTx/>
              <a:buFontTx/>
              <a:buNone/>
              <a:tabLst/>
              <a:defRPr/>
            </a:pPr>
            <a:endParaRPr kumimoji="0" lang="en-US" sz="680" b="0" i="0" u="none" strike="noStrike" kern="0" cap="none" spc="-26" normalizeH="0" baseline="0" noProof="0" dirty="0" err="1">
              <a:ln>
                <a:noFill/>
              </a:ln>
              <a:solidFill>
                <a:schemeClr val="bg1"/>
              </a:solidFill>
              <a:effectLst/>
              <a:uLnTx/>
              <a:uFillTx/>
              <a:ea typeface="Segoe UI" pitchFamily="34" charset="0"/>
              <a:cs typeface="Segoe UI" pitchFamily="34" charset="0"/>
            </a:endParaRPr>
          </a:p>
        </p:txBody>
      </p:sp>
      <p:sp>
        <p:nvSpPr>
          <p:cNvPr id="192" name="Freeform 191"/>
          <p:cNvSpPr>
            <a:spLocks noChangeAspect="1"/>
          </p:cNvSpPr>
          <p:nvPr/>
        </p:nvSpPr>
        <p:spPr bwMode="auto">
          <a:xfrm>
            <a:off x="6608591" y="5262965"/>
            <a:ext cx="387895" cy="382066"/>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23809" tIns="76190" rIns="0" bIns="76190" numCol="1" spcCol="0" rtlCol="0" fromWordArt="0" anchor="t" anchorCtr="0" forceAA="0" compatLnSpc="1">
            <a:prstTxWarp prst="textNoShape">
              <a:avLst/>
            </a:prstTxWarp>
            <a:noAutofit/>
          </a:bodyPr>
          <a:lstStyle/>
          <a:p>
            <a:pPr marL="0" marR="0" lvl="0" indent="0" defTabSz="485560" eaLnBrk="1" fontAlgn="base" latinLnBrk="0" hangingPunct="1">
              <a:lnSpc>
                <a:spcPct val="90000"/>
              </a:lnSpc>
              <a:spcBef>
                <a:spcPct val="0"/>
              </a:spcBef>
              <a:spcAft>
                <a:spcPct val="0"/>
              </a:spcAft>
              <a:buClrTx/>
              <a:buSzTx/>
              <a:buFontTx/>
              <a:buNone/>
              <a:tabLst/>
              <a:defRPr/>
            </a:pPr>
            <a:endParaRPr kumimoji="0" lang="en-US" sz="6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193" name="Freeform 192"/>
          <p:cNvSpPr/>
          <p:nvPr/>
        </p:nvSpPr>
        <p:spPr>
          <a:xfrm>
            <a:off x="7519638" y="5310014"/>
            <a:ext cx="251826" cy="312422"/>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rgbClr val="92D050"/>
          </a:solidFill>
          <a:ln w="12700" cap="flat" cmpd="sng" algn="ctr">
            <a:noFill/>
            <a:prstDash val="solid"/>
            <a:miter lim="800000"/>
          </a:ln>
          <a:effectLst/>
        </p:spPr>
        <p:txBody>
          <a:bodyPr wrap="square" lIns="23809" rIns="0" rtlCol="0" anchor="ctr">
            <a:noAutofit/>
          </a:bodyPr>
          <a:lstStyle/>
          <a:p>
            <a:pPr marL="0" marR="0" lvl="0" indent="0" defTabSz="485486" eaLnBrk="1" fontAlgn="auto" latinLnBrk="0" hangingPunct="1">
              <a:lnSpc>
                <a:spcPct val="100000"/>
              </a:lnSpc>
              <a:spcBef>
                <a:spcPts val="0"/>
              </a:spcBef>
              <a:spcAft>
                <a:spcPts val="0"/>
              </a:spcAft>
              <a:buClrTx/>
              <a:buSzTx/>
              <a:buFontTx/>
              <a:buNone/>
              <a:tabLst/>
              <a:defRPr/>
            </a:pPr>
            <a:endParaRPr kumimoji="0" lang="en-US" sz="680" b="0" i="0" u="none" strike="noStrike" kern="0" cap="none" spc="0" normalizeH="0" baseline="0" noProof="0">
              <a:ln>
                <a:noFill/>
              </a:ln>
              <a:solidFill>
                <a:schemeClr val="bg1"/>
              </a:solidFill>
              <a:effectLst/>
              <a:uLnTx/>
              <a:uFillTx/>
            </a:endParaRPr>
          </a:p>
        </p:txBody>
      </p:sp>
      <p:sp>
        <p:nvSpPr>
          <p:cNvPr id="194" name="Freeform 7"/>
          <p:cNvSpPr>
            <a:spLocks noEditPoints="1"/>
          </p:cNvSpPr>
          <p:nvPr/>
        </p:nvSpPr>
        <p:spPr bwMode="auto">
          <a:xfrm>
            <a:off x="4913333" y="5954259"/>
            <a:ext cx="292171" cy="353825"/>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92D050"/>
          </a:solidFill>
          <a:ln w="10795" cap="flat" cmpd="sng" algn="ctr">
            <a:noFill/>
            <a:prstDash val="solid"/>
            <a:headEnd type="none" w="med" len="med"/>
            <a:tailEnd type="none" w="med" len="med"/>
          </a:ln>
          <a:effectLst/>
        </p:spPr>
        <p:txBody>
          <a:bodyPr vert="horz" wrap="square" lIns="23809" tIns="23808" rIns="0" bIns="23808" numCol="1" rtlCol="0" anchor="ctr" anchorCtr="0" compatLnSpc="1">
            <a:prstTxWarp prst="textNoShape">
              <a:avLst/>
            </a:prstTxWarp>
          </a:bodyPr>
          <a:lstStyle/>
          <a:p>
            <a:pPr marL="0" marR="0" lvl="0" indent="0" defTabSz="428531" eaLnBrk="1" fontAlgn="auto" latinLnBrk="0" hangingPunct="1">
              <a:lnSpc>
                <a:spcPct val="100000"/>
              </a:lnSpc>
              <a:spcBef>
                <a:spcPts val="0"/>
              </a:spcBef>
              <a:spcAft>
                <a:spcPts val="0"/>
              </a:spcAft>
              <a:buClrTx/>
              <a:buSzTx/>
              <a:buFontTx/>
              <a:buNone/>
              <a:tabLst/>
              <a:defRPr/>
            </a:pPr>
            <a:endParaRPr kumimoji="0" lang="en-US" sz="680" b="0" i="0" u="none" strike="noStrike" kern="0" cap="none" spc="-71" normalizeH="0" baseline="0" noProof="0" dirty="0">
              <a:ln>
                <a:noFill/>
              </a:ln>
              <a:solidFill>
                <a:schemeClr val="bg1"/>
              </a:solidFill>
              <a:effectLst/>
              <a:uLnTx/>
              <a:uFillTx/>
            </a:endParaRPr>
          </a:p>
        </p:txBody>
      </p:sp>
      <p:sp>
        <p:nvSpPr>
          <p:cNvPr id="195" name="Frame 5"/>
          <p:cNvSpPr>
            <a:spLocks noChangeAspect="1"/>
          </p:cNvSpPr>
          <p:nvPr/>
        </p:nvSpPr>
        <p:spPr bwMode="auto">
          <a:xfrm>
            <a:off x="6692192" y="5958551"/>
            <a:ext cx="284889" cy="3210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23809" tIns="28006" rIns="0" bIns="56011" numCol="1" spcCol="0" rtlCol="0" fromWordArt="0" anchor="b" anchorCtr="0" forceAA="0" compatLnSpc="1">
            <a:prstTxWarp prst="textNoShape">
              <a:avLst/>
            </a:prstTxWarp>
            <a:noAutofit/>
          </a:bodyPr>
          <a:lstStyle/>
          <a:p>
            <a:pPr marL="0" marR="0" lvl="0" indent="0" defTabSz="559831" eaLnBrk="1" fontAlgn="base" latinLnBrk="0" hangingPunct="1">
              <a:lnSpc>
                <a:spcPct val="100000"/>
              </a:lnSpc>
              <a:spcBef>
                <a:spcPct val="0"/>
              </a:spcBef>
              <a:spcAft>
                <a:spcPct val="0"/>
              </a:spcAft>
              <a:buClrTx/>
              <a:buSzTx/>
              <a:buFontTx/>
              <a:buNone/>
              <a:tabLst/>
              <a:defRPr/>
            </a:pPr>
            <a:endParaRPr kumimoji="0" lang="en-US" sz="680" b="0" i="0" u="none" strike="noStrike" kern="0" cap="none" spc="-31" normalizeH="0" baseline="0" noProof="0" dirty="0" err="1">
              <a:ln>
                <a:noFill/>
              </a:ln>
              <a:solidFill>
                <a:schemeClr val="bg1"/>
              </a:solidFill>
              <a:effectLst/>
              <a:uLnTx/>
              <a:uFillTx/>
              <a:ea typeface="Segoe UI" pitchFamily="34" charset="0"/>
              <a:cs typeface="Segoe UI" pitchFamily="34" charset="0"/>
            </a:endParaRPr>
          </a:p>
        </p:txBody>
      </p:sp>
      <p:sp>
        <p:nvSpPr>
          <p:cNvPr id="196" name="Freeform 34"/>
          <p:cNvSpPr>
            <a:spLocks noEditPoints="1"/>
          </p:cNvSpPr>
          <p:nvPr/>
        </p:nvSpPr>
        <p:spPr bwMode="auto">
          <a:xfrm>
            <a:off x="3909056" y="5933143"/>
            <a:ext cx="467402" cy="453636"/>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92D050"/>
          </a:solidFill>
          <a:ln>
            <a:noFill/>
          </a:ln>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197" name="Freeform 53"/>
          <p:cNvSpPr>
            <a:spLocks noEditPoints="1"/>
          </p:cNvSpPr>
          <p:nvPr/>
        </p:nvSpPr>
        <p:spPr bwMode="auto">
          <a:xfrm>
            <a:off x="5772175" y="5876726"/>
            <a:ext cx="377072" cy="53198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92D050"/>
          </a:solidFill>
          <a:ln>
            <a:noFill/>
          </a:ln>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198" name="Freeform 16"/>
          <p:cNvSpPr>
            <a:spLocks noChangeAspect="1" noEditPoints="1"/>
          </p:cNvSpPr>
          <p:nvPr/>
        </p:nvSpPr>
        <p:spPr bwMode="auto">
          <a:xfrm>
            <a:off x="8313741" y="5297442"/>
            <a:ext cx="452354" cy="437895"/>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92D050"/>
          </a:solid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grpSp>
        <p:nvGrpSpPr>
          <p:cNvPr id="199" name="Group 198"/>
          <p:cNvGrpSpPr/>
          <p:nvPr/>
        </p:nvGrpSpPr>
        <p:grpSpPr>
          <a:xfrm>
            <a:off x="7499506" y="5907284"/>
            <a:ext cx="291332" cy="475031"/>
            <a:chOff x="8597110" y="4718972"/>
            <a:chExt cx="361215" cy="561776"/>
          </a:xfrm>
          <a:solidFill>
            <a:srgbClr val="92D050"/>
          </a:solidFill>
        </p:grpSpPr>
        <p:sp>
          <p:nvSpPr>
            <p:cNvPr id="20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0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0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grpSp>
      <p:grpSp>
        <p:nvGrpSpPr>
          <p:cNvPr id="203" name="Group 202"/>
          <p:cNvGrpSpPr/>
          <p:nvPr/>
        </p:nvGrpSpPr>
        <p:grpSpPr>
          <a:xfrm>
            <a:off x="8288451" y="5928398"/>
            <a:ext cx="571753" cy="426165"/>
            <a:chOff x="4746174" y="1443592"/>
            <a:chExt cx="4626425" cy="3905619"/>
          </a:xfrm>
          <a:solidFill>
            <a:srgbClr val="92D050"/>
          </a:solidFill>
        </p:grpSpPr>
        <p:grpSp>
          <p:nvGrpSpPr>
            <p:cNvPr id="204" name="Group 386"/>
            <p:cNvGrpSpPr>
              <a:grpSpLocks noChangeAspect="1"/>
            </p:cNvGrpSpPr>
            <p:nvPr/>
          </p:nvGrpSpPr>
          <p:grpSpPr bwMode="auto">
            <a:xfrm>
              <a:off x="4746174" y="2973316"/>
              <a:ext cx="1414644" cy="2318435"/>
              <a:chOff x="-1261" y="1888"/>
              <a:chExt cx="576" cy="944"/>
            </a:xfrm>
            <a:grpFill/>
          </p:grpSpPr>
          <p:sp>
            <p:nvSpPr>
              <p:cNvPr id="215"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w="9525">
                <a:noFill/>
                <a:round/>
                <a:headEnd/>
                <a:tailEnd/>
              </a:ln>
              <a:extLst/>
            </p:spPr>
            <p:txBody>
              <a:bodyPr vert="horz" wrap="square" lIns="48566" tIns="24283" rIns="48566" bIns="24283" numCol="1" anchor="t" anchorCtr="0" compatLnSpc="1">
                <a:prstTxWarp prst="textNoShape">
                  <a:avLst/>
                </a:prstTxWarp>
              </a:bodyPr>
              <a:lstStyle/>
              <a:p>
                <a:pPr marL="0" marR="0" lvl="0" indent="0" defTabSz="485605"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16"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w="9525">
                <a:noFill/>
                <a:round/>
                <a:headEnd/>
                <a:tailEnd/>
              </a:ln>
              <a:extLst/>
            </p:spPr>
            <p:txBody>
              <a:bodyPr vert="horz" wrap="square" lIns="48566" tIns="24283" rIns="48566" bIns="24283" numCol="1" anchor="t" anchorCtr="0" compatLnSpc="1">
                <a:prstTxWarp prst="textNoShape">
                  <a:avLst/>
                </a:prstTxWarp>
              </a:bodyPr>
              <a:lstStyle/>
              <a:p>
                <a:pPr marL="0" marR="0" lvl="0" indent="0" defTabSz="485605"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17"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rgbClr val="000000"/>
                </a:solidFill>
                <a:round/>
                <a:headEnd/>
                <a:tailEnd/>
              </a:ln>
              <a:extLst/>
            </p:spPr>
            <p:txBody>
              <a:bodyPr vert="horz" wrap="square" lIns="48566" tIns="24283" rIns="48566" bIns="24283" numCol="1" anchor="t" anchorCtr="0" compatLnSpc="1">
                <a:prstTxWarp prst="textNoShape">
                  <a:avLst/>
                </a:prstTxWarp>
              </a:bodyPr>
              <a:lstStyle/>
              <a:p>
                <a:pPr marL="0" marR="0" lvl="0" indent="0" defTabSz="485605"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chemeClr val="bg1"/>
                  </a:solidFill>
                  <a:effectLst/>
                  <a:uLnTx/>
                  <a:uFillTx/>
                  <a:ea typeface="MS PGothic" panose="020B0600070205080204" pitchFamily="34" charset="-128"/>
                </a:endParaRPr>
              </a:p>
            </p:txBody>
          </p:sp>
        </p:grpSp>
        <p:grpSp>
          <p:nvGrpSpPr>
            <p:cNvPr id="205" name="Group 204"/>
            <p:cNvGrpSpPr/>
            <p:nvPr/>
          </p:nvGrpSpPr>
          <p:grpSpPr>
            <a:xfrm>
              <a:off x="5345484" y="1443592"/>
              <a:ext cx="1381398" cy="1269128"/>
              <a:chOff x="5345480" y="1443592"/>
              <a:chExt cx="1381394" cy="1269128"/>
            </a:xfrm>
            <a:grpFill/>
          </p:grpSpPr>
          <p:sp>
            <p:nvSpPr>
              <p:cNvPr id="213" name="Bent Arrow 212"/>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14" name="Isosceles Triangle 213"/>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206" name="Group 205"/>
            <p:cNvGrpSpPr/>
            <p:nvPr/>
          </p:nvGrpSpPr>
          <p:grpSpPr>
            <a:xfrm rot="10800000">
              <a:off x="7049746" y="4080083"/>
              <a:ext cx="1381398" cy="1269128"/>
              <a:chOff x="5345480" y="1443592"/>
              <a:chExt cx="1381394" cy="1269128"/>
            </a:xfrm>
            <a:grpFill/>
          </p:grpSpPr>
          <p:sp>
            <p:nvSpPr>
              <p:cNvPr id="211" name="Bent Arrow 210"/>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12" name="Isosceles Triangle 211"/>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sp>
          <p:nvSpPr>
            <p:cNvPr id="207" name="Freeform 206"/>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08" name="Rectangle 207"/>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09" name="Rectangle 208"/>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10" name="Rectangle 209"/>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sp>
        <p:nvSpPr>
          <p:cNvPr id="82" name="Rectangle 81"/>
          <p:cNvSpPr/>
          <p:nvPr/>
        </p:nvSpPr>
        <p:spPr>
          <a:xfrm>
            <a:off x="5323942" y="1591190"/>
            <a:ext cx="1657543" cy="1242825"/>
          </a:xfrm>
          <a:prstGeom prst="rect">
            <a:avLst/>
          </a:prstGeom>
          <a:solidFill>
            <a:srgbClr val="236C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Spark</a:t>
            </a:r>
          </a:p>
        </p:txBody>
      </p:sp>
      <p:sp>
        <p:nvSpPr>
          <p:cNvPr id="72" name="Title 1"/>
          <p:cNvSpPr txBox="1">
            <a:spLocks/>
          </p:cNvSpPr>
          <p:nvPr/>
        </p:nvSpPr>
        <p:spPr>
          <a:xfrm>
            <a:off x="194320" y="194292"/>
            <a:ext cx="12043717" cy="843105"/>
          </a:xfrm>
          <a:prstGeom prst="rect">
            <a:avLst/>
          </a:prstGeom>
        </p:spPr>
        <p:txBody>
          <a:bodyPr anchor="ctr"/>
          <a:lstStyle>
            <a:lvl1pPr algn="l" defTabSz="932578" rtl="0" eaLnBrk="1" latinLnBrk="0" hangingPunct="1">
              <a:lnSpc>
                <a:spcPct val="90000"/>
              </a:lnSpc>
              <a:spcBef>
                <a:spcPct val="0"/>
              </a:spcBef>
              <a:buNone/>
              <a:defRPr sz="4487" kern="1200">
                <a:solidFill>
                  <a:schemeClr val="tx1"/>
                </a:solidFill>
                <a:latin typeface="+mj-lt"/>
                <a:ea typeface="+mj-ea"/>
                <a:cs typeface="+mj-cs"/>
              </a:defRPr>
            </a:lvl1pPr>
          </a:lstStyle>
          <a:p>
            <a:pPr marL="0" marR="0" lvl="0" indent="0" algn="ctr" defTabSz="932578"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effectLst/>
                <a:uLnTx/>
                <a:uFillTx/>
                <a:latin typeface="+mj-lt"/>
                <a:ea typeface="+mj-ea"/>
                <a:cs typeface="+mj-cs"/>
              </a:rPr>
              <a:t>Compute Workloads on YARN</a:t>
            </a:r>
          </a:p>
        </p:txBody>
      </p:sp>
    </p:spTree>
    <p:extLst>
      <p:ext uri="{BB962C8B-B14F-4D97-AF65-F5344CB8AC3E}">
        <p14:creationId xmlns:p14="http://schemas.microsoft.com/office/powerpoint/2010/main" val="1016207476"/>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load Variants</a:t>
            </a:r>
          </a:p>
        </p:txBody>
      </p:sp>
      <p:sp>
        <p:nvSpPr>
          <p:cNvPr id="47" name="Rectangle 46"/>
          <p:cNvSpPr/>
          <p:nvPr/>
        </p:nvSpPr>
        <p:spPr>
          <a:xfrm>
            <a:off x="1567328" y="1349639"/>
            <a:ext cx="2557930" cy="261769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4900704" y="1349638"/>
            <a:ext cx="2557930" cy="261769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TextBox 48"/>
          <p:cNvSpPr txBox="1"/>
          <p:nvPr/>
        </p:nvSpPr>
        <p:spPr>
          <a:xfrm>
            <a:off x="1866900" y="1953262"/>
            <a:ext cx="20469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CPU Intensive</a:t>
            </a:r>
          </a:p>
        </p:txBody>
      </p:sp>
      <p:sp>
        <p:nvSpPr>
          <p:cNvPr id="50" name="TextBox 49"/>
          <p:cNvSpPr txBox="1"/>
          <p:nvPr/>
        </p:nvSpPr>
        <p:spPr>
          <a:xfrm>
            <a:off x="5156197" y="1935760"/>
            <a:ext cx="20469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Memory Intensive</a:t>
            </a:r>
          </a:p>
        </p:txBody>
      </p:sp>
      <p:sp>
        <p:nvSpPr>
          <p:cNvPr id="51" name="Rectangle 50"/>
          <p:cNvSpPr/>
          <p:nvPr/>
        </p:nvSpPr>
        <p:spPr>
          <a:xfrm>
            <a:off x="8305800" y="1345135"/>
            <a:ext cx="2557930" cy="261769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TextBox 51"/>
          <p:cNvSpPr txBox="1"/>
          <p:nvPr/>
        </p:nvSpPr>
        <p:spPr>
          <a:xfrm>
            <a:off x="8561294" y="1935760"/>
            <a:ext cx="20469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I/O Intensive</a:t>
            </a:r>
          </a:p>
        </p:txBody>
      </p:sp>
      <p:sp>
        <p:nvSpPr>
          <p:cNvPr id="54" name="TextBox 53"/>
          <p:cNvSpPr txBox="1"/>
          <p:nvPr/>
        </p:nvSpPr>
        <p:spPr>
          <a:xfrm>
            <a:off x="996576" y="4183958"/>
            <a:ext cx="3699434" cy="2862322"/>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haracteristics</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Heavy computation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Examples </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achine Learning</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atural Language Processing</a:t>
            </a:r>
          </a:p>
          <a:p>
            <a:pPr marL="57150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5" name="TextBox 54"/>
          <p:cNvSpPr txBox="1"/>
          <p:nvPr/>
        </p:nvSpPr>
        <p:spPr>
          <a:xfrm>
            <a:off x="4484592" y="4183958"/>
            <a:ext cx="3699434" cy="2492990"/>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haracteristics</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High memory usage</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Examples </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PageRank</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Real-time analytics</a:t>
            </a:r>
          </a:p>
          <a:p>
            <a:pPr marL="57150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6" name="TextBox 55"/>
          <p:cNvSpPr txBox="1"/>
          <p:nvPr/>
        </p:nvSpPr>
        <p:spPr>
          <a:xfrm>
            <a:off x="7972608" y="4183958"/>
            <a:ext cx="3699434" cy="1938992"/>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haracteristics</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Heavy Read/Write</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Examples </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py</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ata preparation</a:t>
            </a:r>
          </a:p>
        </p:txBody>
      </p:sp>
      <p:sp>
        <p:nvSpPr>
          <p:cNvPr id="57" name="Rectangle 56"/>
          <p:cNvSpPr/>
          <p:nvPr/>
        </p:nvSpPr>
        <p:spPr>
          <a:xfrm>
            <a:off x="7996508" y="1093694"/>
            <a:ext cx="3357292" cy="546249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04964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age of Throughput</a:t>
            </a:r>
          </a:p>
        </p:txBody>
      </p:sp>
      <p:sp>
        <p:nvSpPr>
          <p:cNvPr id="13" name="Rectangle 12"/>
          <p:cNvSpPr/>
          <p:nvPr/>
        </p:nvSpPr>
        <p:spPr>
          <a:xfrm>
            <a:off x="4201461" y="1144679"/>
            <a:ext cx="3771154" cy="1452002"/>
          </a:xfrm>
          <a:prstGeom prst="rect">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TextBox 13"/>
          <p:cNvSpPr txBox="1"/>
          <p:nvPr/>
        </p:nvSpPr>
        <p:spPr>
          <a:xfrm>
            <a:off x="4638489" y="1398707"/>
            <a:ext cx="3103747"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Compute</a:t>
            </a:r>
          </a:p>
        </p:txBody>
      </p:sp>
      <p:sp>
        <p:nvSpPr>
          <p:cNvPr id="15" name="Rectangle 14"/>
          <p:cNvSpPr/>
          <p:nvPr/>
        </p:nvSpPr>
        <p:spPr>
          <a:xfrm>
            <a:off x="4219390" y="4915549"/>
            <a:ext cx="3753225" cy="1705913"/>
          </a:xfrm>
          <a:prstGeom prst="rect">
            <a:avLst/>
          </a:prstGeom>
          <a:solidFill>
            <a:schemeClr val="bg1"/>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TextBox 15"/>
          <p:cNvSpPr txBox="1"/>
          <p:nvPr/>
        </p:nvSpPr>
        <p:spPr>
          <a:xfrm>
            <a:off x="4948521" y="5299297"/>
            <a:ext cx="2641316"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Storage</a:t>
            </a:r>
          </a:p>
        </p:txBody>
      </p:sp>
      <p:cxnSp>
        <p:nvCxnSpPr>
          <p:cNvPr id="17" name="Straight Arrow Connector 16"/>
          <p:cNvCxnSpPr/>
          <p:nvPr/>
        </p:nvCxnSpPr>
        <p:spPr>
          <a:xfrm flipV="1">
            <a:off x="4382106" y="3116262"/>
            <a:ext cx="1378931" cy="1274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350009" y="2593699"/>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6033254" y="2596681"/>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6185654" y="2593701"/>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103437" y="2715155"/>
            <a:ext cx="2398351"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Utilized Throughput</a:t>
            </a:r>
          </a:p>
        </p:txBody>
      </p:sp>
      <p:sp>
        <p:nvSpPr>
          <p:cNvPr id="22" name="Right Arrow 21"/>
          <p:cNvSpPr/>
          <p:nvPr/>
        </p:nvSpPr>
        <p:spPr>
          <a:xfrm>
            <a:off x="6502410" y="3556234"/>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 name="Right Arrow 22"/>
          <p:cNvSpPr/>
          <p:nvPr/>
        </p:nvSpPr>
        <p:spPr>
          <a:xfrm rot="10800000">
            <a:off x="5120491" y="3578109"/>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4" name="Straight Connector 23"/>
          <p:cNvCxnSpPr/>
          <p:nvPr/>
        </p:nvCxnSpPr>
        <p:spPr>
          <a:xfrm>
            <a:off x="5862999" y="2607474"/>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745317" y="444341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61634" y="447629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326105" y="4459518"/>
            <a:ext cx="1168400" cy="4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721419" y="4450359"/>
            <a:ext cx="1168400" cy="4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493838" y="4166656"/>
            <a:ext cx="2493088"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Available Throughput</a:t>
            </a:r>
          </a:p>
        </p:txBody>
      </p:sp>
      <p:cxnSp>
        <p:nvCxnSpPr>
          <p:cNvPr id="30" name="Straight Arrow Connector 29"/>
          <p:cNvCxnSpPr/>
          <p:nvPr/>
        </p:nvCxnSpPr>
        <p:spPr>
          <a:xfrm>
            <a:off x="3580711" y="4643709"/>
            <a:ext cx="1109139"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166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Available Throughput</a:t>
            </a:r>
          </a:p>
        </p:txBody>
      </p:sp>
      <p:sp>
        <p:nvSpPr>
          <p:cNvPr id="31" name="Rectangle 30"/>
          <p:cNvSpPr/>
          <p:nvPr/>
        </p:nvSpPr>
        <p:spPr>
          <a:xfrm>
            <a:off x="4201460" y="1144679"/>
            <a:ext cx="3769377" cy="1452002"/>
          </a:xfrm>
          <a:prstGeom prst="rect">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TextBox 31"/>
          <p:cNvSpPr txBox="1"/>
          <p:nvPr/>
        </p:nvSpPr>
        <p:spPr>
          <a:xfrm>
            <a:off x="4638489" y="1387794"/>
            <a:ext cx="3039149"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Compute</a:t>
            </a:r>
          </a:p>
        </p:txBody>
      </p:sp>
      <p:sp>
        <p:nvSpPr>
          <p:cNvPr id="33" name="Rectangle 32"/>
          <p:cNvSpPr/>
          <p:nvPr/>
        </p:nvSpPr>
        <p:spPr>
          <a:xfrm>
            <a:off x="4219390" y="4915549"/>
            <a:ext cx="3751447" cy="1705913"/>
          </a:xfrm>
          <a:prstGeom prst="rect">
            <a:avLst/>
          </a:prstGeom>
          <a:solidFill>
            <a:schemeClr val="bg1"/>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 name="TextBox 33"/>
          <p:cNvSpPr txBox="1"/>
          <p:nvPr/>
        </p:nvSpPr>
        <p:spPr>
          <a:xfrm>
            <a:off x="5042663" y="5294631"/>
            <a:ext cx="2470974"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Storage</a:t>
            </a:r>
          </a:p>
        </p:txBody>
      </p:sp>
      <p:cxnSp>
        <p:nvCxnSpPr>
          <p:cNvPr id="35" name="Straight Arrow Connector 34"/>
          <p:cNvCxnSpPr/>
          <p:nvPr/>
        </p:nvCxnSpPr>
        <p:spPr>
          <a:xfrm flipV="1">
            <a:off x="3222672" y="3116262"/>
            <a:ext cx="1471565" cy="1274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461634" y="2607474"/>
            <a:ext cx="4481" cy="1886265"/>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6033254" y="2596681"/>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6185654" y="2593701"/>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558379" y="2715155"/>
            <a:ext cx="2291503"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Utilized Throughput</a:t>
            </a:r>
          </a:p>
        </p:txBody>
      </p:sp>
      <p:cxnSp>
        <p:nvCxnSpPr>
          <p:cNvPr id="40" name="Straight Connector 39"/>
          <p:cNvCxnSpPr/>
          <p:nvPr/>
        </p:nvCxnSpPr>
        <p:spPr>
          <a:xfrm>
            <a:off x="4739437" y="2607474"/>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45317" y="444341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461634" y="447629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609047" y="4166656"/>
            <a:ext cx="2300119"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Available Throughput</a:t>
            </a:r>
          </a:p>
        </p:txBody>
      </p:sp>
      <p:cxnSp>
        <p:nvCxnSpPr>
          <p:cNvPr id="44" name="Straight Arrow Connector 43"/>
          <p:cNvCxnSpPr/>
          <p:nvPr/>
        </p:nvCxnSpPr>
        <p:spPr>
          <a:xfrm>
            <a:off x="3580711" y="4643709"/>
            <a:ext cx="1163523" cy="3"/>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350006" y="259669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859946" y="259668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699630" y="2593695"/>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6852030" y="259071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016382" y="259370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526322" y="259370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5378839" y="2599672"/>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531239" y="2596692"/>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5695591" y="2599686"/>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205531" y="2599680"/>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7174758"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7336120"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5029212" y="260267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4861866" y="260865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95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rgbClr val="1978D7"/>
        </a:solidFill>
        <a:effectLst/>
      </p:bgPr>
    </p:bg>
    <p:spTree>
      <p:nvGrpSpPr>
        <p:cNvPr id="1" name=""/>
        <p:cNvGrpSpPr/>
        <p:nvPr/>
      </p:nvGrpSpPr>
      <p:grpSpPr>
        <a:xfrm>
          <a:off x="0" y="0"/>
          <a:ext cx="0" cy="0"/>
          <a:chOff x="0" y="0"/>
          <a:chExt cx="0" cy="0"/>
        </a:xfrm>
      </p:grpSpPr>
      <p:pic>
        <p:nvPicPr>
          <p:cNvPr id="1032" name="Picture 8" descr="https://2.bp.blogspot.com/-m3K9bic0Jq0/WCytyfLofxI/AAAAAAAABq8/bs1Ec0dmqXQiXJeKd7I_fTQMozOKjv8_QCLcB/s728/Microsoft-loves-Linu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420"/>
            <a:ext cx="12471484" cy="69895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cdn.geekwire.com/wp-content/uploads/2014/11/15_low-620x39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514725" cy="354899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pache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19" y="3590284"/>
            <a:ext cx="4086225" cy="166687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linux foundati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23103" y="5576231"/>
            <a:ext cx="2261054" cy="68736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apa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1865" y="3802540"/>
            <a:ext cx="1439179" cy="45150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apach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16852" y="4254048"/>
            <a:ext cx="758825" cy="38344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apache hadoop"/>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98219" y="4513344"/>
            <a:ext cx="1518410" cy="1062887"/>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apache hiv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18583" y="5223798"/>
            <a:ext cx="919230" cy="82763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www.hops.io/sites/default/files/styles/portfolio_detail/public/spark_0.png?itok=ClgaSoQj"/>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85696" y="5257159"/>
            <a:ext cx="2152542" cy="104112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Image result for apache hbas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68822" y="6298287"/>
            <a:ext cx="1938004" cy="49481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www.crackinghadoop.com/wp-content/uploads/2015/03/pig-image-e1471549971830.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917647" y="6007010"/>
            <a:ext cx="1175136" cy="974725"/>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d3gnp09177mxuh.cloudfront.net/tech-page-images/r.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462316" y="3970434"/>
            <a:ext cx="1006506" cy="100650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5"/>
          <a:stretch>
            <a:fillRect/>
          </a:stretch>
        </p:blipFill>
        <p:spPr>
          <a:xfrm>
            <a:off x="10229510" y="3579872"/>
            <a:ext cx="1282579" cy="674176"/>
          </a:xfrm>
          <a:prstGeom prst="rect">
            <a:avLst/>
          </a:prstGeom>
        </p:spPr>
      </p:pic>
    </p:spTree>
    <p:extLst>
      <p:ext uri="{BB962C8B-B14F-4D97-AF65-F5344CB8AC3E}">
        <p14:creationId xmlns:p14="http://schemas.microsoft.com/office/powerpoint/2010/main" val="16964899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1032"/>
                                        </p:tgtEl>
                                      </p:cBhvr>
                                      <p:by x="50000" y="50000"/>
                                    </p:animScale>
                                  </p:childTnLst>
                                </p:cTn>
                              </p:par>
                              <p:par>
                                <p:cTn id="7" presetID="43" presetClass="path" presetSubtype="0" accel="50000" decel="50000" fill="hold" nodeType="withEffect">
                                  <p:stCondLst>
                                    <p:cond delay="0"/>
                                  </p:stCondLst>
                                  <p:childTnLst>
                                    <p:animMotion origin="layout" path="M -4.13582E-6 0 L 0.12497 0 C 0.18101 0 0.25007 -0.069 0.25007 -0.12506 L 0.25007 -0.24989 " pathEditMode="relative" rAng="0" ptsTypes="AAAA">
                                      <p:cBhvr>
                                        <p:cTn id="8" dur="2000" fill="hold"/>
                                        <p:tgtEl>
                                          <p:spTgt spid="1032"/>
                                        </p:tgtEl>
                                        <p:attrNameLst>
                                          <p:attrName>ppt_x</p:attrName>
                                          <p:attrName>ppt_y</p:attrName>
                                        </p:attrNameLst>
                                      </p:cBhvr>
                                      <p:rCtr x="12497" y="-12506"/>
                                    </p:animMotion>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028"/>
                                        </p:tgtEl>
                                        <p:attrNameLst>
                                          <p:attrName>style.visibility</p:attrName>
                                        </p:attrNameLst>
                                      </p:cBhvr>
                                      <p:to>
                                        <p:strVal val="visible"/>
                                      </p:to>
                                    </p:set>
                                    <p:animEffect transition="in" filter="fade">
                                      <p:cBhvr>
                                        <p:cTn id="13" dur="2000"/>
                                        <p:tgtEl>
                                          <p:spTgt spid="102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fill="hold" nodeType="clickEffect">
                                  <p:stCondLst>
                                    <p:cond delay="0"/>
                                  </p:stCondLst>
                                  <p:childTnLst>
                                    <p:set>
                                      <p:cBhvr>
                                        <p:cTn id="17" dur="1" fill="hold">
                                          <p:stCondLst>
                                            <p:cond delay="0"/>
                                          </p:stCondLst>
                                        </p:cTn>
                                        <p:tgtEl>
                                          <p:spTgt spid="1036"/>
                                        </p:tgtEl>
                                        <p:attrNameLst>
                                          <p:attrName>style.visibility</p:attrName>
                                        </p:attrNameLst>
                                      </p:cBhvr>
                                      <p:to>
                                        <p:strVal val="visible"/>
                                      </p:to>
                                    </p:set>
                                    <p:anim calcmode="lin" valueType="num">
                                      <p:cBhvr additive="base">
                                        <p:cTn id="18" dur="2000" fill="hold"/>
                                        <p:tgtEl>
                                          <p:spTgt spid="1036"/>
                                        </p:tgtEl>
                                        <p:attrNameLst>
                                          <p:attrName>ppt_x</p:attrName>
                                        </p:attrNameLst>
                                      </p:cBhvr>
                                      <p:tavLst>
                                        <p:tav tm="0">
                                          <p:val>
                                            <p:strVal val="0-#ppt_w/2"/>
                                          </p:val>
                                        </p:tav>
                                        <p:tav tm="100000">
                                          <p:val>
                                            <p:strVal val="#ppt_x"/>
                                          </p:val>
                                        </p:tav>
                                      </p:tavLst>
                                    </p:anim>
                                    <p:anim calcmode="lin" valueType="num">
                                      <p:cBhvr additive="base">
                                        <p:cTn id="19" dur="2000" fill="hold"/>
                                        <p:tgtEl>
                                          <p:spTgt spid="1036"/>
                                        </p:tgtEl>
                                        <p:attrNameLst>
                                          <p:attrName>ppt_y</p:attrName>
                                        </p:attrNameLst>
                                      </p:cBhvr>
                                      <p:tavLst>
                                        <p:tav tm="0">
                                          <p:val>
                                            <p:strVal val="#ppt_y"/>
                                          </p:val>
                                        </p:tav>
                                        <p:tav tm="100000">
                                          <p:val>
                                            <p:strVal val="#ppt_y"/>
                                          </p:val>
                                        </p:tav>
                                      </p:tavLst>
                                    </p:anim>
                                  </p:childTnLst>
                                </p:cTn>
                              </p:par>
                              <p:par>
                                <p:cTn id="20" presetID="2" presetClass="entr" presetSubtype="8" fill="hold" nodeType="withEffect">
                                  <p:stCondLst>
                                    <p:cond delay="0"/>
                                  </p:stCondLst>
                                  <p:childTnLst>
                                    <p:set>
                                      <p:cBhvr>
                                        <p:cTn id="21" dur="1" fill="hold">
                                          <p:stCondLst>
                                            <p:cond delay="0"/>
                                          </p:stCondLst>
                                        </p:cTn>
                                        <p:tgtEl>
                                          <p:spTgt spid="1030"/>
                                        </p:tgtEl>
                                        <p:attrNameLst>
                                          <p:attrName>style.visibility</p:attrName>
                                        </p:attrNameLst>
                                      </p:cBhvr>
                                      <p:to>
                                        <p:strVal val="visible"/>
                                      </p:to>
                                    </p:set>
                                    <p:anim calcmode="lin" valueType="num">
                                      <p:cBhvr additive="base">
                                        <p:cTn id="22" dur="2000" fill="hold"/>
                                        <p:tgtEl>
                                          <p:spTgt spid="1030"/>
                                        </p:tgtEl>
                                        <p:attrNameLst>
                                          <p:attrName>ppt_x</p:attrName>
                                        </p:attrNameLst>
                                      </p:cBhvr>
                                      <p:tavLst>
                                        <p:tav tm="0">
                                          <p:val>
                                            <p:strVal val="0-#ppt_w/2"/>
                                          </p:val>
                                        </p:tav>
                                        <p:tav tm="100000">
                                          <p:val>
                                            <p:strVal val="#ppt_x"/>
                                          </p:val>
                                        </p:tav>
                                      </p:tavLst>
                                    </p:anim>
                                    <p:anim calcmode="lin" valueType="num">
                                      <p:cBhvr additive="base">
                                        <p:cTn id="23" dur="20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05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1052"/>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104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1040"/>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1038"/>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062"/>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2"/>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1054"/>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10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S Provides Massive Throughput</a:t>
            </a:r>
          </a:p>
        </p:txBody>
      </p:sp>
      <p:sp>
        <p:nvSpPr>
          <p:cNvPr id="59" name="Rectangle 58"/>
          <p:cNvSpPr/>
          <p:nvPr/>
        </p:nvSpPr>
        <p:spPr>
          <a:xfrm>
            <a:off x="4201461" y="1144679"/>
            <a:ext cx="3771154" cy="1452002"/>
          </a:xfrm>
          <a:prstGeom prst="rect">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0" name="TextBox 59"/>
          <p:cNvSpPr txBox="1"/>
          <p:nvPr/>
        </p:nvSpPr>
        <p:spPr>
          <a:xfrm>
            <a:off x="4453307" y="1401222"/>
            <a:ext cx="3285389"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61" name="Rectangle 60"/>
          <p:cNvSpPr/>
          <p:nvPr/>
        </p:nvSpPr>
        <p:spPr>
          <a:xfrm>
            <a:off x="4219390" y="4915549"/>
            <a:ext cx="3753225" cy="1705913"/>
          </a:xfrm>
          <a:prstGeom prst="rect">
            <a:avLst/>
          </a:prstGeom>
          <a:solidFill>
            <a:schemeClr val="bg1"/>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TextBox 61"/>
          <p:cNvSpPr txBox="1"/>
          <p:nvPr/>
        </p:nvSpPr>
        <p:spPr>
          <a:xfrm>
            <a:off x="5180108" y="5365149"/>
            <a:ext cx="2182916"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ADLS</a:t>
            </a:r>
          </a:p>
        </p:txBody>
      </p:sp>
      <p:cxnSp>
        <p:nvCxnSpPr>
          <p:cNvPr id="63" name="Straight Arrow Connector 62"/>
          <p:cNvCxnSpPr/>
          <p:nvPr/>
        </p:nvCxnSpPr>
        <p:spPr>
          <a:xfrm>
            <a:off x="3222672" y="3129008"/>
            <a:ext cx="1401642" cy="1427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461634" y="2653253"/>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6033254" y="2596681"/>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6185654" y="2593701"/>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435718" y="2715155"/>
            <a:ext cx="2307058"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Utilized Throughput</a:t>
            </a:r>
          </a:p>
        </p:txBody>
      </p:sp>
      <p:cxnSp>
        <p:nvCxnSpPr>
          <p:cNvPr id="68" name="Straight Connector 67"/>
          <p:cNvCxnSpPr/>
          <p:nvPr/>
        </p:nvCxnSpPr>
        <p:spPr>
          <a:xfrm>
            <a:off x="4739437" y="2607474"/>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45317" y="444341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7461634" y="447629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81928" y="3951210"/>
            <a:ext cx="2625482" cy="138499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No fixed throughput limit </a:t>
            </a:r>
          </a:p>
        </p:txBody>
      </p:sp>
      <p:cxnSp>
        <p:nvCxnSpPr>
          <p:cNvPr id="72" name="Straight Arrow Connector 71"/>
          <p:cNvCxnSpPr/>
          <p:nvPr/>
        </p:nvCxnSpPr>
        <p:spPr>
          <a:xfrm>
            <a:off x="2767915" y="4643709"/>
            <a:ext cx="1109139"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350006" y="259669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859946" y="259668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699630" y="2593695"/>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6852030" y="259071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7016382" y="259370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6526322" y="259370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5378839" y="2599672"/>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5531239" y="2596692"/>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695591" y="2599686"/>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5205531" y="2599680"/>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7174758"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7336120"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029212" y="260267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861866" y="260865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Right Arrow 86"/>
          <p:cNvSpPr/>
          <p:nvPr/>
        </p:nvSpPr>
        <p:spPr>
          <a:xfrm rot="10800000">
            <a:off x="4052051" y="4409297"/>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Right Arrow 87"/>
          <p:cNvSpPr/>
          <p:nvPr/>
        </p:nvSpPr>
        <p:spPr>
          <a:xfrm>
            <a:off x="7593118" y="4409297"/>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64385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482769"/>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706972"/>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1874837" y="1023605"/>
            <a:ext cx="2255399"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244393"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52827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815895"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99778"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89637"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Tree>
    <p:extLst>
      <p:ext uri="{BB962C8B-B14F-4D97-AF65-F5344CB8AC3E}">
        <p14:creationId xmlns:p14="http://schemas.microsoft.com/office/powerpoint/2010/main" val="105200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500"/>
                                        <p:tgtEl>
                                          <p:spTgt spid="3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500"/>
                                        <p:tgtEl>
                                          <p:spTgt spid="4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fade">
                                      <p:cBhvr>
                                        <p:cTn id="45" dur="500"/>
                                        <p:tgtEl>
                                          <p:spTgt spid="3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1"/>
                                        </p:tgtEl>
                                        <p:attrNameLst>
                                          <p:attrName>style.visibility</p:attrName>
                                        </p:attrNameLst>
                                      </p:cBhvr>
                                      <p:to>
                                        <p:strVal val="visible"/>
                                      </p:to>
                                    </p:set>
                                    <p:animEffect transition="in" filter="fade">
                                      <p:cBhvr>
                                        <p:cTn id="48" dur="500"/>
                                        <p:tgtEl>
                                          <p:spTgt spid="5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fade">
                                      <p:cBhvr>
                                        <p:cTn id="51" dur="500"/>
                                        <p:tgtEl>
                                          <p:spTgt spid="4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2"/>
                                        </p:tgtEl>
                                        <p:attrNameLst>
                                          <p:attrName>style.visibility</p:attrName>
                                        </p:attrNameLst>
                                      </p:cBhvr>
                                      <p:to>
                                        <p:strVal val="visible"/>
                                      </p:to>
                                    </p:set>
                                    <p:animEffect transition="in" filter="fade">
                                      <p:cBhvr>
                                        <p:cTn id="60" dur="500"/>
                                        <p:tgtEl>
                                          <p:spTgt spid="5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3"/>
                                        </p:tgtEl>
                                        <p:attrNameLst>
                                          <p:attrName>style.visibility</p:attrName>
                                        </p:attrNameLst>
                                      </p:cBhvr>
                                      <p:to>
                                        <p:strVal val="visible"/>
                                      </p:to>
                                    </p:set>
                                    <p:animEffect transition="in" filter="fade">
                                      <p:cBhvr>
                                        <p:cTn id="63" dur="500"/>
                                        <p:tgtEl>
                                          <p:spTgt spid="5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fade">
                                      <p:cBhvr>
                                        <p:cTn id="68" dur="500"/>
                                        <p:tgtEl>
                                          <p:spTgt spid="3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animEffect transition="in" filter="fade">
                                      <p:cBhvr>
                                        <p:cTn id="71" dur="500"/>
                                        <p:tgtEl>
                                          <p:spTgt spid="54"/>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5"/>
                                        </p:tgtEl>
                                        <p:attrNameLst>
                                          <p:attrName>style.visibility</p:attrName>
                                        </p:attrNameLst>
                                      </p:cBhvr>
                                      <p:to>
                                        <p:strVal val="visible"/>
                                      </p:to>
                                    </p:set>
                                    <p:animEffect transition="in" filter="fade">
                                      <p:cBhvr>
                                        <p:cTn id="74" dur="500"/>
                                        <p:tgtEl>
                                          <p:spTgt spid="55"/>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6"/>
                                        </p:tgtEl>
                                        <p:attrNameLst>
                                          <p:attrName>style.visibility</p:attrName>
                                        </p:attrNameLst>
                                      </p:cBhvr>
                                      <p:to>
                                        <p:strVal val="visible"/>
                                      </p:to>
                                    </p:set>
                                    <p:animEffect transition="in" filter="fade">
                                      <p:cBhvr>
                                        <p:cTn id="77" dur="500"/>
                                        <p:tgtEl>
                                          <p:spTgt spid="5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57"/>
                                        </p:tgtEl>
                                        <p:attrNameLst>
                                          <p:attrName>style.visibility</p:attrName>
                                        </p:attrNameLst>
                                      </p:cBhvr>
                                      <p:to>
                                        <p:strVal val="visible"/>
                                      </p:to>
                                    </p:set>
                                    <p:animEffect transition="in" filter="fade">
                                      <p:cBhvr>
                                        <p:cTn id="80" dur="500"/>
                                        <p:tgtEl>
                                          <p:spTgt spid="5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8"/>
                                        </p:tgtEl>
                                        <p:attrNameLst>
                                          <p:attrName>style.visibility</p:attrName>
                                        </p:attrNameLst>
                                      </p:cBhvr>
                                      <p:to>
                                        <p:strVal val="visible"/>
                                      </p:to>
                                    </p:set>
                                    <p:animEffect transition="in" filter="fade">
                                      <p:cBhvr>
                                        <p:cTn id="83" dur="500"/>
                                        <p:tgtEl>
                                          <p:spTgt spid="5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89"/>
                                        </p:tgtEl>
                                        <p:attrNameLst>
                                          <p:attrName>style.visibility</p:attrName>
                                        </p:attrNameLst>
                                      </p:cBhvr>
                                      <p:to>
                                        <p:strVal val="visible"/>
                                      </p:to>
                                    </p:set>
                                    <p:animEffect transition="in" filter="fade">
                                      <p:cBhvr>
                                        <p:cTn id="86" dur="500"/>
                                        <p:tgtEl>
                                          <p:spTgt spid="8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0"/>
                                        </p:tgtEl>
                                        <p:attrNameLst>
                                          <p:attrName>style.visibility</p:attrName>
                                        </p:attrNameLst>
                                      </p:cBhvr>
                                      <p:to>
                                        <p:strVal val="visible"/>
                                      </p:to>
                                    </p:set>
                                    <p:animEffect transition="in" filter="fade">
                                      <p:cBhvr>
                                        <p:cTn id="89" dur="500"/>
                                        <p:tgtEl>
                                          <p:spTgt spid="90"/>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95"/>
                                        </p:tgtEl>
                                        <p:attrNameLst>
                                          <p:attrName>style.visibility</p:attrName>
                                        </p:attrNameLst>
                                      </p:cBhvr>
                                      <p:to>
                                        <p:strVal val="visible"/>
                                      </p:to>
                                    </p:set>
                                    <p:animEffect transition="in" filter="fade">
                                      <p:cBhvr>
                                        <p:cTn id="94" dur="500"/>
                                        <p:tgtEl>
                                          <p:spTgt spid="95"/>
                                        </p:tgtEl>
                                      </p:cBhvr>
                                    </p:animEffect>
                                  </p:childTnLst>
                                </p:cTn>
                              </p:par>
                              <p:par>
                                <p:cTn id="95" presetID="10" presetClass="entr" presetSubtype="0" fill="hold" nodeType="withEffect">
                                  <p:stCondLst>
                                    <p:cond delay="0"/>
                                  </p:stCondLst>
                                  <p:childTnLst>
                                    <p:set>
                                      <p:cBhvr>
                                        <p:cTn id="96" dur="1" fill="hold">
                                          <p:stCondLst>
                                            <p:cond delay="0"/>
                                          </p:stCondLst>
                                        </p:cTn>
                                        <p:tgtEl>
                                          <p:spTgt spid="96"/>
                                        </p:tgtEl>
                                        <p:attrNameLst>
                                          <p:attrName>style.visibility</p:attrName>
                                        </p:attrNameLst>
                                      </p:cBhvr>
                                      <p:to>
                                        <p:strVal val="visible"/>
                                      </p:to>
                                    </p:set>
                                    <p:animEffect transition="in" filter="fade">
                                      <p:cBhvr>
                                        <p:cTn id="97" dur="500"/>
                                        <p:tgtEl>
                                          <p:spTgt spid="96"/>
                                        </p:tgtEl>
                                      </p:cBhvr>
                                    </p:animEffect>
                                  </p:childTnLst>
                                </p:cTn>
                              </p:par>
                              <p:par>
                                <p:cTn id="98" presetID="10" presetClass="entr" presetSubtype="0" fill="hold" nodeType="withEffect">
                                  <p:stCondLst>
                                    <p:cond delay="0"/>
                                  </p:stCondLst>
                                  <p:childTnLst>
                                    <p:set>
                                      <p:cBhvr>
                                        <p:cTn id="99" dur="1" fill="hold">
                                          <p:stCondLst>
                                            <p:cond delay="0"/>
                                          </p:stCondLst>
                                        </p:cTn>
                                        <p:tgtEl>
                                          <p:spTgt spid="97"/>
                                        </p:tgtEl>
                                        <p:attrNameLst>
                                          <p:attrName>style.visibility</p:attrName>
                                        </p:attrNameLst>
                                      </p:cBhvr>
                                      <p:to>
                                        <p:strVal val="visible"/>
                                      </p:to>
                                    </p:set>
                                    <p:animEffect transition="in" filter="fade">
                                      <p:cBhvr>
                                        <p:cTn id="100" dur="500"/>
                                        <p:tgtEl>
                                          <p:spTgt spid="97"/>
                                        </p:tgtEl>
                                      </p:cBhvr>
                                    </p:animEffect>
                                  </p:childTnLst>
                                </p:cTn>
                              </p:par>
                              <p:par>
                                <p:cTn id="101" presetID="10" presetClass="entr" presetSubtype="0" fill="hold" nodeType="withEffect">
                                  <p:stCondLst>
                                    <p:cond delay="0"/>
                                  </p:stCondLst>
                                  <p:childTnLst>
                                    <p:set>
                                      <p:cBhvr>
                                        <p:cTn id="102" dur="1" fill="hold">
                                          <p:stCondLst>
                                            <p:cond delay="0"/>
                                          </p:stCondLst>
                                        </p:cTn>
                                        <p:tgtEl>
                                          <p:spTgt spid="98"/>
                                        </p:tgtEl>
                                        <p:attrNameLst>
                                          <p:attrName>style.visibility</p:attrName>
                                        </p:attrNameLst>
                                      </p:cBhvr>
                                      <p:to>
                                        <p:strVal val="visible"/>
                                      </p:to>
                                    </p:set>
                                    <p:animEffect transition="in" filter="fade">
                                      <p:cBhvr>
                                        <p:cTn id="103" dur="500"/>
                                        <p:tgtEl>
                                          <p:spTgt spid="9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99"/>
                                        </p:tgtEl>
                                        <p:attrNameLst>
                                          <p:attrName>style.visibility</p:attrName>
                                        </p:attrNameLst>
                                      </p:cBhvr>
                                      <p:to>
                                        <p:strVal val="visible"/>
                                      </p:to>
                                    </p:set>
                                    <p:animEffect transition="in" filter="fade">
                                      <p:cBhvr>
                                        <p:cTn id="106"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animBg="1"/>
      <p:bldP spid="35" grpId="0" animBg="1"/>
      <p:bldP spid="36" grpId="0"/>
      <p:bldP spid="37" grpId="0"/>
      <p:bldP spid="39" grpId="0"/>
      <p:bldP spid="40" grpId="0"/>
      <p:bldP spid="41" grpId="0" animBg="1"/>
      <p:bldP spid="42" grpId="0"/>
      <p:bldP spid="43" grpId="0" animBg="1"/>
      <p:bldP spid="44" grpId="0"/>
      <p:bldP spid="45" grpId="0" animBg="1"/>
      <p:bldP spid="46" grpId="0" animBg="1"/>
      <p:bldP spid="47" grpId="0" animBg="1"/>
      <p:bldP spid="48" grpId="0" animBg="1"/>
      <p:bldP spid="49" grpId="0" animBg="1"/>
      <p:bldP spid="50" grpId="0"/>
      <p:bldP spid="51" grpId="0"/>
      <p:bldP spid="52" grpId="0" animBg="1"/>
      <p:bldP spid="53" grpId="0"/>
      <p:bldP spid="54" grpId="0"/>
      <p:bldP spid="55" grpId="0" animBg="1"/>
      <p:bldP spid="56" grpId="0" animBg="1"/>
      <p:bldP spid="57" grpId="0" animBg="1"/>
      <p:bldP spid="58" grpId="0" animBg="1"/>
      <p:bldP spid="89" grpId="0" animBg="1"/>
      <p:bldP spid="90" grpId="0"/>
      <p:bldP spid="9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482769"/>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706972"/>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1798637" y="1023605"/>
            <a:ext cx="2209800"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244393"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52827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815895"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99778"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89637"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
        <p:nvSpPr>
          <p:cNvPr id="59" name="Rectangle 58"/>
          <p:cNvSpPr/>
          <p:nvPr/>
        </p:nvSpPr>
        <p:spPr>
          <a:xfrm>
            <a:off x="215663" y="4868862"/>
            <a:ext cx="11914714" cy="1905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7872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hysical Level</a:t>
            </a:r>
          </a:p>
        </p:txBody>
      </p:sp>
      <p:grpSp>
        <p:nvGrpSpPr>
          <p:cNvPr id="15" name="Group 14"/>
          <p:cNvGrpSpPr/>
          <p:nvPr/>
        </p:nvGrpSpPr>
        <p:grpSpPr>
          <a:xfrm>
            <a:off x="7476137" y="1395483"/>
            <a:ext cx="2169399" cy="2123544"/>
            <a:chOff x="2041973" y="1666115"/>
            <a:chExt cx="2127055" cy="2082095"/>
          </a:xfrm>
        </p:grpSpPr>
        <p:sp>
          <p:nvSpPr>
            <p:cNvPr id="7" name="Rectangle 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 name="Can 9"/>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 name="Can 11"/>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Can 12"/>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Can 13"/>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6" name="Group 15"/>
          <p:cNvGrpSpPr/>
          <p:nvPr/>
        </p:nvGrpSpPr>
        <p:grpSpPr>
          <a:xfrm>
            <a:off x="2588753" y="2591275"/>
            <a:ext cx="2169399" cy="2123544"/>
            <a:chOff x="2041973" y="1666115"/>
            <a:chExt cx="2127055" cy="2082095"/>
          </a:xfrm>
        </p:grpSpPr>
        <p:sp>
          <p:nvSpPr>
            <p:cNvPr id="17" name="Rectangle 1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Can 17"/>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Can 18"/>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Can 19"/>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Can 20"/>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2" name="Group 21"/>
          <p:cNvGrpSpPr/>
          <p:nvPr/>
        </p:nvGrpSpPr>
        <p:grpSpPr>
          <a:xfrm>
            <a:off x="7476136" y="3678346"/>
            <a:ext cx="2169399" cy="2123544"/>
            <a:chOff x="2041973" y="1666115"/>
            <a:chExt cx="2127055" cy="2082095"/>
          </a:xfrm>
        </p:grpSpPr>
        <p:sp>
          <p:nvSpPr>
            <p:cNvPr id="23" name="Rectangle 22"/>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 name="Can 23"/>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 name="Can 24"/>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Can 25"/>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 name="Can 26"/>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1" name="Right Arrow 30"/>
          <p:cNvSpPr/>
          <p:nvPr/>
        </p:nvSpPr>
        <p:spPr>
          <a:xfrm>
            <a:off x="5580744" y="3242428"/>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TextBox 27"/>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Increase # of VMs</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5873354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hysical Level</a:t>
            </a:r>
          </a:p>
        </p:txBody>
      </p:sp>
      <p:grpSp>
        <p:nvGrpSpPr>
          <p:cNvPr id="5" name="Group 4"/>
          <p:cNvGrpSpPr/>
          <p:nvPr/>
        </p:nvGrpSpPr>
        <p:grpSpPr>
          <a:xfrm>
            <a:off x="2737501" y="2992613"/>
            <a:ext cx="2169399" cy="2123544"/>
            <a:chOff x="2041973" y="1666115"/>
            <a:chExt cx="2127055" cy="2082095"/>
          </a:xfrm>
        </p:grpSpPr>
        <p:sp>
          <p:nvSpPr>
            <p:cNvPr id="6" name="Rectangle 5"/>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Can 6"/>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Can 7"/>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Can 8"/>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 name="Can 9"/>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4" name="Group 3"/>
          <p:cNvGrpSpPr/>
          <p:nvPr/>
        </p:nvGrpSpPr>
        <p:grpSpPr>
          <a:xfrm>
            <a:off x="7089490" y="1947925"/>
            <a:ext cx="2169399" cy="3793513"/>
            <a:chOff x="2742812" y="2013763"/>
            <a:chExt cx="2127055" cy="3719468"/>
          </a:xfrm>
        </p:grpSpPr>
        <p:sp>
          <p:nvSpPr>
            <p:cNvPr id="13" name="Rectangle 12"/>
            <p:cNvSpPr/>
            <p:nvPr/>
          </p:nvSpPr>
          <p:spPr>
            <a:xfrm>
              <a:off x="2742812" y="2013763"/>
              <a:ext cx="2127055" cy="37194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Can 13"/>
            <p:cNvSpPr/>
            <p:nvPr/>
          </p:nvSpPr>
          <p:spPr>
            <a:xfrm>
              <a:off x="3063507" y="2322302"/>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 name="Can 14"/>
            <p:cNvSpPr/>
            <p:nvPr/>
          </p:nvSpPr>
          <p:spPr>
            <a:xfrm>
              <a:off x="3905914" y="2322302"/>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Can 15"/>
            <p:cNvSpPr/>
            <p:nvPr/>
          </p:nvSpPr>
          <p:spPr>
            <a:xfrm>
              <a:off x="3063507" y="318621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Can 16"/>
            <p:cNvSpPr/>
            <p:nvPr/>
          </p:nvSpPr>
          <p:spPr>
            <a:xfrm>
              <a:off x="3905914" y="318621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Can 17"/>
            <p:cNvSpPr/>
            <p:nvPr/>
          </p:nvSpPr>
          <p:spPr>
            <a:xfrm>
              <a:off x="3064443" y="4079108"/>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Can 18"/>
            <p:cNvSpPr/>
            <p:nvPr/>
          </p:nvSpPr>
          <p:spPr>
            <a:xfrm>
              <a:off x="3906850" y="4079108"/>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Can 19"/>
            <p:cNvSpPr/>
            <p:nvPr/>
          </p:nvSpPr>
          <p:spPr>
            <a:xfrm>
              <a:off x="3064443" y="4943020"/>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Can 20"/>
            <p:cNvSpPr/>
            <p:nvPr/>
          </p:nvSpPr>
          <p:spPr>
            <a:xfrm>
              <a:off x="3906850" y="4943020"/>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24" name="Right Arrow 23"/>
          <p:cNvSpPr/>
          <p:nvPr/>
        </p:nvSpPr>
        <p:spPr>
          <a:xfrm>
            <a:off x="5548603" y="3509137"/>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 name="TextBox 10"/>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VMs with more memory</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5296301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hysical Level</a:t>
            </a:r>
          </a:p>
        </p:txBody>
      </p:sp>
      <p:grpSp>
        <p:nvGrpSpPr>
          <p:cNvPr id="15" name="Group 14"/>
          <p:cNvGrpSpPr/>
          <p:nvPr/>
        </p:nvGrpSpPr>
        <p:grpSpPr>
          <a:xfrm>
            <a:off x="7476137" y="3664850"/>
            <a:ext cx="2169399" cy="2123544"/>
            <a:chOff x="2041973" y="1666115"/>
            <a:chExt cx="2127055" cy="2082095"/>
          </a:xfrm>
        </p:grpSpPr>
        <p:sp>
          <p:nvSpPr>
            <p:cNvPr id="7" name="Rectangle 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 name="Can 9"/>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 name="Can 11"/>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Can 12"/>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Can 13"/>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6" name="Group 15"/>
          <p:cNvGrpSpPr/>
          <p:nvPr/>
        </p:nvGrpSpPr>
        <p:grpSpPr>
          <a:xfrm>
            <a:off x="2588753" y="3644579"/>
            <a:ext cx="2169399" cy="2123544"/>
            <a:chOff x="2041973" y="1666115"/>
            <a:chExt cx="2127055" cy="2082095"/>
          </a:xfrm>
        </p:grpSpPr>
        <p:sp>
          <p:nvSpPr>
            <p:cNvPr id="17" name="Rectangle 1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Can 17"/>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Can 18"/>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Can 19"/>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Can 20"/>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1" name="Right Arrow 30"/>
          <p:cNvSpPr/>
          <p:nvPr/>
        </p:nvSpPr>
        <p:spPr>
          <a:xfrm>
            <a:off x="5580744" y="4295732"/>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TextBox 27"/>
          <p:cNvSpPr txBox="1"/>
          <p:nvPr/>
        </p:nvSpPr>
        <p:spPr>
          <a:xfrm>
            <a:off x="274637" y="1135062"/>
            <a:ext cx="106680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VMs with more network bandwidth</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9" name="TextBox 28"/>
          <p:cNvSpPr txBox="1"/>
          <p:nvPr/>
        </p:nvSpPr>
        <p:spPr>
          <a:xfrm>
            <a:off x="2560637" y="2659062"/>
            <a:ext cx="2285999" cy="11480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353535"/>
                </a:solidFill>
                <a:effectLst/>
                <a:uLnTx/>
                <a:uFillTx/>
                <a:latin typeface="Segoe UI Semilight"/>
                <a:ea typeface="+mn-ea"/>
                <a:cs typeface="+mn-cs"/>
              </a:rPr>
              <a:t>Moderate</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cxnSp>
        <p:nvCxnSpPr>
          <p:cNvPr id="5" name="Straight Connector 4"/>
          <p:cNvCxnSpPr/>
          <p:nvPr/>
        </p:nvCxnSpPr>
        <p:spPr>
          <a:xfrm flipV="1">
            <a:off x="3673451" y="3233066"/>
            <a:ext cx="0" cy="411513"/>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132637" y="2674183"/>
            <a:ext cx="3276600" cy="11480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353535"/>
                </a:solidFill>
                <a:effectLst/>
                <a:uLnTx/>
                <a:uFillTx/>
                <a:latin typeface="Segoe UI Semilight"/>
                <a:ea typeface="+mn-ea"/>
                <a:cs typeface="+mn-cs"/>
              </a:rPr>
              <a:t>Extremely high</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cxnSp>
        <p:nvCxnSpPr>
          <p:cNvPr id="32" name="Straight Connector 31"/>
          <p:cNvCxnSpPr/>
          <p:nvPr/>
        </p:nvCxnSpPr>
        <p:spPr>
          <a:xfrm flipV="1">
            <a:off x="8550251" y="3248187"/>
            <a:ext cx="0" cy="411513"/>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79264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328877"/>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536731"/>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2170217" y="1023605"/>
            <a:ext cx="1374585"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191744"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475627"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76324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47129"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36988"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
        <p:nvSpPr>
          <p:cNvPr id="59" name="Rectangle 58"/>
          <p:cNvSpPr/>
          <p:nvPr/>
        </p:nvSpPr>
        <p:spPr>
          <a:xfrm>
            <a:off x="215663" y="2828512"/>
            <a:ext cx="11914714" cy="20233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83032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YARN Level</a:t>
            </a:r>
          </a:p>
        </p:txBody>
      </p:sp>
      <p:sp>
        <p:nvSpPr>
          <p:cNvPr id="3" name="Content Placeholder 2"/>
          <p:cNvSpPr>
            <a:spLocks noGrp="1"/>
          </p:cNvSpPr>
          <p:nvPr>
            <p:ph idx="4294967295"/>
          </p:nvPr>
        </p:nvSpPr>
        <p:spPr/>
        <p:txBody>
          <a:bodyPr vert="horz" lIns="93260" tIns="46630" rIns="93260" bIns="46630" rtlCol="0" anchor="t">
            <a:normAutofit/>
          </a:bodyPr>
          <a:lstStyle/>
          <a:p>
            <a:pPr marL="0" indent="0">
              <a:buNone/>
            </a:pPr>
            <a:endParaRPr lang="en-US" dirty="0"/>
          </a:p>
          <a:p>
            <a:endParaRPr lang="en-US" dirty="0"/>
          </a:p>
        </p:txBody>
      </p:sp>
      <p:sp>
        <p:nvSpPr>
          <p:cNvPr id="4" name="Right Arrow 3"/>
          <p:cNvSpPr/>
          <p:nvPr/>
        </p:nvSpPr>
        <p:spPr>
          <a:xfrm>
            <a:off x="5280403" y="3549771"/>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Can 72"/>
          <p:cNvSpPr/>
          <p:nvPr/>
        </p:nvSpPr>
        <p:spPr>
          <a:xfrm>
            <a:off x="6891993" y="1891088"/>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Can 73"/>
          <p:cNvSpPr/>
          <p:nvPr/>
        </p:nvSpPr>
        <p:spPr>
          <a:xfrm>
            <a:off x="8120227" y="1888048"/>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5" name="Can 74"/>
          <p:cNvSpPr/>
          <p:nvPr/>
        </p:nvSpPr>
        <p:spPr>
          <a:xfrm>
            <a:off x="6895043" y="2985221"/>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Can 75"/>
          <p:cNvSpPr/>
          <p:nvPr/>
        </p:nvSpPr>
        <p:spPr>
          <a:xfrm>
            <a:off x="8181178" y="2991318"/>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7" name="Can 76"/>
          <p:cNvSpPr/>
          <p:nvPr/>
        </p:nvSpPr>
        <p:spPr>
          <a:xfrm>
            <a:off x="6919421" y="4045826"/>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8" name="Can 77"/>
          <p:cNvSpPr/>
          <p:nvPr/>
        </p:nvSpPr>
        <p:spPr>
          <a:xfrm>
            <a:off x="8193367" y="4045827"/>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Can 78"/>
          <p:cNvSpPr/>
          <p:nvPr/>
        </p:nvSpPr>
        <p:spPr>
          <a:xfrm>
            <a:off x="6937712" y="5191780"/>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Can 79"/>
          <p:cNvSpPr/>
          <p:nvPr/>
        </p:nvSpPr>
        <p:spPr>
          <a:xfrm>
            <a:off x="8223851" y="5191770"/>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1" name="Can 80"/>
          <p:cNvSpPr/>
          <p:nvPr/>
        </p:nvSpPr>
        <p:spPr>
          <a:xfrm>
            <a:off x="2339696" y="2041581"/>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3" name="Can 82"/>
          <p:cNvSpPr/>
          <p:nvPr/>
        </p:nvSpPr>
        <p:spPr>
          <a:xfrm>
            <a:off x="3645340" y="2072998"/>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Can 83"/>
          <p:cNvSpPr/>
          <p:nvPr/>
        </p:nvSpPr>
        <p:spPr>
          <a:xfrm>
            <a:off x="2318956" y="4149230"/>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Can 84"/>
          <p:cNvSpPr/>
          <p:nvPr/>
        </p:nvSpPr>
        <p:spPr>
          <a:xfrm>
            <a:off x="3698020" y="4094875"/>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TextBox 16"/>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smaller YARN containers</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28710187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x-none" dirty="0"/>
              <a:t>YARN Level</a:t>
            </a:r>
            <a:endParaRPr lang="en-US" dirty="0"/>
          </a:p>
        </p:txBody>
      </p:sp>
      <p:sp>
        <p:nvSpPr>
          <p:cNvPr id="3" name="Content Placeholder 2"/>
          <p:cNvSpPr>
            <a:spLocks noGrp="1"/>
          </p:cNvSpPr>
          <p:nvPr>
            <p:ph idx="4294967295"/>
          </p:nvPr>
        </p:nvSpPr>
        <p:spPr/>
        <p:txBody>
          <a:bodyPr vert="horz" lIns="93260" tIns="46630" rIns="93260" bIns="46630" rtlCol="0" anchor="t">
            <a:normAutofit/>
          </a:bodyPr>
          <a:lstStyle/>
          <a:p>
            <a:pPr marL="0" indent="0">
              <a:buNone/>
            </a:pPr>
            <a:endParaRPr lang="en-US" dirty="0"/>
          </a:p>
          <a:p>
            <a:endParaRPr lang="en-US" dirty="0"/>
          </a:p>
        </p:txBody>
      </p:sp>
      <p:grpSp>
        <p:nvGrpSpPr>
          <p:cNvPr id="4" name="Group 3"/>
          <p:cNvGrpSpPr/>
          <p:nvPr/>
        </p:nvGrpSpPr>
        <p:grpSpPr>
          <a:xfrm>
            <a:off x="7145965" y="2119886"/>
            <a:ext cx="3049654" cy="3340828"/>
            <a:chOff x="2194561" y="2150226"/>
            <a:chExt cx="2990128" cy="3275619"/>
          </a:xfrm>
        </p:grpSpPr>
        <p:sp>
          <p:nvSpPr>
            <p:cNvPr id="5" name="Can 4"/>
            <p:cNvSpPr/>
            <p:nvPr/>
          </p:nvSpPr>
          <p:spPr>
            <a:xfrm>
              <a:off x="2194561"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6" name="Curved Connector 5"/>
            <p:cNvCxnSpPr/>
            <p:nvPr/>
          </p:nvCxnSpPr>
          <p:spPr>
            <a:xfrm rot="16200000" flipH="1">
              <a:off x="2673458"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 name="Curved Connector 16"/>
            <p:cNvCxnSpPr/>
            <p:nvPr/>
          </p:nvCxnSpPr>
          <p:spPr>
            <a:xfrm rot="16200000" flipH="1">
              <a:off x="3142860" y="3892179"/>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Curved Connector 17"/>
            <p:cNvCxnSpPr/>
            <p:nvPr/>
          </p:nvCxnSpPr>
          <p:spPr>
            <a:xfrm rot="16200000" flipH="1">
              <a:off x="2159181" y="3892179"/>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 name="Curved Connector 18"/>
            <p:cNvCxnSpPr/>
            <p:nvPr/>
          </p:nvCxnSpPr>
          <p:spPr>
            <a:xfrm rot="16200000" flipH="1">
              <a:off x="3650738" y="3892179"/>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6583" y="3943748"/>
              <a:ext cx="480833" cy="480833"/>
            </a:xfrm>
            <a:prstGeom prst="rect">
              <a:avLst/>
            </a:prstGeom>
          </p:spPr>
        </p:pic>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3762" y="3943748"/>
              <a:ext cx="480833" cy="480833"/>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5777" y="3952060"/>
              <a:ext cx="480833" cy="480833"/>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5951" y="3952060"/>
              <a:ext cx="480833" cy="480833"/>
            </a:xfrm>
            <a:prstGeom prst="rect">
              <a:avLst/>
            </a:prstGeom>
          </p:spPr>
        </p:pic>
      </p:grpSp>
      <p:grpSp>
        <p:nvGrpSpPr>
          <p:cNvPr id="7" name="Group 6"/>
          <p:cNvGrpSpPr/>
          <p:nvPr/>
        </p:nvGrpSpPr>
        <p:grpSpPr>
          <a:xfrm>
            <a:off x="1989312" y="2119885"/>
            <a:ext cx="3049654" cy="3340828"/>
            <a:chOff x="6874626" y="2150226"/>
            <a:chExt cx="2990128" cy="3275619"/>
          </a:xfrm>
        </p:grpSpPr>
        <p:sp>
          <p:nvSpPr>
            <p:cNvPr id="14" name="Can 13"/>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5" name="Curved Connector 14"/>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4431" y="3943749"/>
              <a:ext cx="480833" cy="480833"/>
            </a:xfrm>
            <a:prstGeom prst="rect">
              <a:avLst/>
            </a:prstGeom>
          </p:spPr>
        </p:pic>
      </p:grpSp>
      <p:sp>
        <p:nvSpPr>
          <p:cNvPr id="22" name="Right Arrow 21"/>
          <p:cNvSpPr/>
          <p:nvPr/>
        </p:nvSpPr>
        <p:spPr>
          <a:xfrm>
            <a:off x="5605124" y="3394811"/>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TextBox 19"/>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Increase cores per container</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87331735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482769"/>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706972"/>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2170217" y="1023605"/>
            <a:ext cx="1374585"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244393"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52827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815895"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99778"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89637"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
        <p:nvSpPr>
          <p:cNvPr id="59" name="Rectangle 58"/>
          <p:cNvSpPr/>
          <p:nvPr/>
        </p:nvSpPr>
        <p:spPr>
          <a:xfrm>
            <a:off x="215663" y="1023604"/>
            <a:ext cx="11914714" cy="179832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63535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p:cNvSpPr>
            <a:spLocks noGrp="1"/>
          </p:cNvSpPr>
          <p:nvPr>
            <p:ph type="body" sz="quarter" idx="13"/>
          </p:nvPr>
        </p:nvSpPr>
        <p:spPr/>
        <p:txBody>
          <a:bodyPr/>
          <a:lstStyle/>
          <a:p>
            <a:r>
              <a:rPr lang="en-US" dirty="0" smtClean="0"/>
              <a:t>Distributed Storage and Computing</a:t>
            </a:r>
            <a:endParaRPr lang="en-US" dirty="0"/>
          </a:p>
        </p:txBody>
      </p:sp>
      <p:pic>
        <p:nvPicPr>
          <p:cNvPr id="22" name="Picture 21"/>
          <p:cNvPicPr>
            <a:picLocks noChangeAspect="1"/>
          </p:cNvPicPr>
          <p:nvPr/>
        </p:nvPicPr>
        <p:blipFill>
          <a:blip r:embed="rId2"/>
          <a:stretch>
            <a:fillRect/>
          </a:stretch>
        </p:blipFill>
        <p:spPr>
          <a:xfrm>
            <a:off x="0" y="1557521"/>
            <a:ext cx="5973223" cy="4622615"/>
          </a:xfrm>
          <a:prstGeom prst="rect">
            <a:avLst/>
          </a:prstGeom>
        </p:spPr>
      </p:pic>
      <p:pic>
        <p:nvPicPr>
          <p:cNvPr id="23" name="Picture 22"/>
          <p:cNvPicPr>
            <a:picLocks noChangeAspect="1"/>
          </p:cNvPicPr>
          <p:nvPr/>
        </p:nvPicPr>
        <p:blipFill>
          <a:blip r:embed="rId3"/>
          <a:stretch>
            <a:fillRect/>
          </a:stretch>
        </p:blipFill>
        <p:spPr>
          <a:xfrm>
            <a:off x="5973222" y="1557521"/>
            <a:ext cx="5274215" cy="2824358"/>
          </a:xfrm>
          <a:prstGeom prst="rect">
            <a:avLst/>
          </a:prstGeom>
        </p:spPr>
      </p:pic>
      <p:sp>
        <p:nvSpPr>
          <p:cNvPr id="24" name="Rectangle 23"/>
          <p:cNvSpPr/>
          <p:nvPr/>
        </p:nvSpPr>
        <p:spPr>
          <a:xfrm>
            <a:off x="0" y="6343857"/>
            <a:ext cx="6216650" cy="1200329"/>
          </a:xfrm>
          <a:prstGeom prst="rect">
            <a:avLst/>
          </a:prstGeom>
        </p:spPr>
        <p:txBody>
          <a:bodyPr>
            <a:spAutoFit/>
          </a:bodyPr>
          <a:lstStyle/>
          <a:p>
            <a:r>
              <a:rPr lang="en-US" i="1" dirty="0">
                <a:solidFill>
                  <a:srgbClr val="000000"/>
                </a:solidFill>
                <a:latin typeface="arial" charset="0"/>
              </a:rPr>
              <a:t>19th ACM Symposium on Operating Systems Principles,</a:t>
            </a:r>
            <a:br>
              <a:rPr lang="en-US" i="1" dirty="0">
                <a:solidFill>
                  <a:srgbClr val="000000"/>
                </a:solidFill>
                <a:latin typeface="arial" charset="0"/>
              </a:rPr>
            </a:br>
            <a:r>
              <a:rPr lang="en-US" i="1" dirty="0">
                <a:solidFill>
                  <a:srgbClr val="000000"/>
                </a:solidFill>
                <a:latin typeface="arial" charset="0"/>
              </a:rPr>
              <a:t>Lake George, NY, October, 2003.</a:t>
            </a:r>
          </a:p>
          <a:p>
            <a:r>
              <a:rPr lang="en-US" i="1" dirty="0"/>
              <a:t/>
            </a:r>
            <a:br>
              <a:rPr lang="en-US" i="1" dirty="0"/>
            </a:br>
            <a:endParaRPr lang="en-US" i="1" dirty="0"/>
          </a:p>
        </p:txBody>
      </p:sp>
      <p:sp>
        <p:nvSpPr>
          <p:cNvPr id="25" name="Rectangle 24"/>
          <p:cNvSpPr/>
          <p:nvPr/>
        </p:nvSpPr>
        <p:spPr>
          <a:xfrm>
            <a:off x="6216650" y="4819342"/>
            <a:ext cx="5188997" cy="923330"/>
          </a:xfrm>
          <a:prstGeom prst="rect">
            <a:avLst/>
          </a:prstGeom>
        </p:spPr>
        <p:txBody>
          <a:bodyPr wrap="square">
            <a:spAutoFit/>
          </a:bodyPr>
          <a:lstStyle/>
          <a:p>
            <a:r>
              <a:rPr lang="en-US" i="1">
                <a:solidFill>
                  <a:srgbClr val="000000"/>
                </a:solidFill>
                <a:latin typeface="arial" charset="0"/>
              </a:rPr>
              <a:t>OSDI'04: Sixth Symposium on Operating System Design and Implementation,</a:t>
            </a:r>
            <a:r>
              <a:rPr lang="en-US" i="1"/>
              <a:t/>
            </a:r>
            <a:br>
              <a:rPr lang="en-US" i="1"/>
            </a:br>
            <a:r>
              <a:rPr lang="en-US" i="1">
                <a:solidFill>
                  <a:srgbClr val="000000"/>
                </a:solidFill>
                <a:latin typeface="arial" charset="0"/>
              </a:rPr>
              <a:t>San Francisco, CA, December, 2004.</a:t>
            </a:r>
            <a:endParaRPr lang="en-US" i="1"/>
          </a:p>
        </p:txBody>
      </p:sp>
      <p:pic>
        <p:nvPicPr>
          <p:cNvPr id="26" name="Picture 25"/>
          <p:cNvPicPr>
            <a:picLocks noChangeAspect="1"/>
          </p:cNvPicPr>
          <p:nvPr/>
        </p:nvPicPr>
        <p:blipFill>
          <a:blip r:embed="rId4"/>
          <a:stretch>
            <a:fillRect/>
          </a:stretch>
        </p:blipFill>
        <p:spPr>
          <a:xfrm>
            <a:off x="1677987" y="42862"/>
            <a:ext cx="9080500" cy="6908800"/>
          </a:xfrm>
          <a:prstGeom prst="rect">
            <a:avLst/>
          </a:prstGeom>
        </p:spPr>
      </p:pic>
      <p:sp>
        <p:nvSpPr>
          <p:cNvPr id="27" name="Rectangle 26"/>
          <p:cNvSpPr/>
          <p:nvPr/>
        </p:nvSpPr>
        <p:spPr>
          <a:xfrm>
            <a:off x="1871636" y="2108262"/>
            <a:ext cx="4346062" cy="369332"/>
          </a:xfrm>
          <a:prstGeom prst="rect">
            <a:avLst/>
          </a:prstGeom>
        </p:spPr>
        <p:txBody>
          <a:bodyPr wrap="none">
            <a:spAutoFit/>
          </a:bodyPr>
          <a:lstStyle/>
          <a:p>
            <a:r>
              <a:rPr lang="en-US" i="1" dirty="0">
                <a:solidFill>
                  <a:srgbClr val="000000"/>
                </a:solidFill>
                <a:latin typeface="wf_segoe-ui_normal" charset="0"/>
              </a:rPr>
              <a:t>Proceedings of the 2007 </a:t>
            </a:r>
            <a:r>
              <a:rPr lang="en-US" i="1" dirty="0" err="1">
                <a:solidFill>
                  <a:srgbClr val="000000"/>
                </a:solidFill>
                <a:latin typeface="wf_segoe-ui_normal" charset="0"/>
              </a:rPr>
              <a:t>Eurosys</a:t>
            </a:r>
            <a:r>
              <a:rPr lang="en-US" i="1" dirty="0">
                <a:solidFill>
                  <a:srgbClr val="000000"/>
                </a:solidFill>
                <a:latin typeface="wf_segoe-ui_normal" charset="0"/>
              </a:rPr>
              <a:t> Conference</a:t>
            </a:r>
            <a:endParaRPr lang="en-US" i="1" dirty="0"/>
          </a:p>
        </p:txBody>
      </p:sp>
    </p:spTree>
    <p:extLst>
      <p:ext uri="{BB962C8B-B14F-4D97-AF65-F5344CB8AC3E}">
        <p14:creationId xmlns:p14="http://schemas.microsoft.com/office/powerpoint/2010/main" val="1382593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barn(inVertical)">
                                      <p:cBhvr>
                                        <p:cTn id="17" dur="500"/>
                                        <p:tgtEl>
                                          <p:spTgt spid="25"/>
                                        </p:tgtEl>
                                      </p:cBhvr>
                                    </p:animEffect>
                                  </p:childTnLst>
                                </p:cTn>
                              </p:par>
                              <p:par>
                                <p:cTn id="18" presetID="16" presetClass="entr" presetSubtype="21" fill="hold" nodeType="with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barn(inVertical)">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6" presetClass="entr" presetSubtype="16"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circle(in)">
                                      <p:cBhvr>
                                        <p:cTn id="25" dur="2000"/>
                                        <p:tgtEl>
                                          <p:spTgt spid="26"/>
                                        </p:tgtEl>
                                      </p:cBhvr>
                                    </p:animEffect>
                                  </p:childTnLst>
                                </p:cTn>
                              </p:par>
                              <p:par>
                                <p:cTn id="26" presetID="6" presetClass="entr" presetSubtype="16" fill="hold" grpId="0"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circle(in)">
                                      <p:cBhvr>
                                        <p:cTn id="28" dur="2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x-none" dirty="0"/>
              <a:t>Workload Level</a:t>
            </a:r>
            <a:endParaRPr lang="en-US" dirty="0"/>
          </a:p>
        </p:txBody>
      </p:sp>
      <p:grpSp>
        <p:nvGrpSpPr>
          <p:cNvPr id="4" name="Group 3"/>
          <p:cNvGrpSpPr/>
          <p:nvPr/>
        </p:nvGrpSpPr>
        <p:grpSpPr>
          <a:xfrm>
            <a:off x="7033646" y="1973262"/>
            <a:ext cx="1336730" cy="1401730"/>
            <a:chOff x="6874626" y="2150226"/>
            <a:chExt cx="2990128" cy="3275619"/>
          </a:xfrm>
        </p:grpSpPr>
        <p:sp>
          <p:nvSpPr>
            <p:cNvPr id="9" name="Can 8"/>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0" name="Curved Connector 9"/>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8813168" y="2001801"/>
            <a:ext cx="1336730" cy="1401730"/>
            <a:chOff x="6874626" y="2150226"/>
            <a:chExt cx="2990128" cy="3275619"/>
          </a:xfrm>
        </p:grpSpPr>
        <p:sp>
          <p:nvSpPr>
            <p:cNvPr id="19" name="Can 18"/>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0" name="Curved Connector 19"/>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7033647" y="3444162"/>
            <a:ext cx="1336730" cy="1401730"/>
            <a:chOff x="6874626" y="2150226"/>
            <a:chExt cx="2990128" cy="3275619"/>
          </a:xfrm>
        </p:grpSpPr>
        <p:sp>
          <p:nvSpPr>
            <p:cNvPr id="22" name="Can 21"/>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3" name="Curved Connector 22"/>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8838490" y="3474086"/>
            <a:ext cx="1336730" cy="1401730"/>
            <a:chOff x="6874626" y="2150226"/>
            <a:chExt cx="2990128" cy="3275619"/>
          </a:xfrm>
        </p:grpSpPr>
        <p:sp>
          <p:nvSpPr>
            <p:cNvPr id="25" name="Can 24"/>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6" name="Curved Connector 25"/>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8838490" y="4993277"/>
            <a:ext cx="1336730" cy="1401730"/>
            <a:chOff x="6874626" y="2150226"/>
            <a:chExt cx="2990128" cy="3275619"/>
          </a:xfrm>
        </p:grpSpPr>
        <p:sp>
          <p:nvSpPr>
            <p:cNvPr id="28" name="Can 27"/>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9" name="Curved Connector 28"/>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7033646" y="4993277"/>
            <a:ext cx="1336730" cy="1401730"/>
            <a:chOff x="6874626" y="2150226"/>
            <a:chExt cx="2990128" cy="3275619"/>
          </a:xfrm>
        </p:grpSpPr>
        <p:sp>
          <p:nvSpPr>
            <p:cNvPr id="31" name="Can 30"/>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32" name="Curved Connector 31"/>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3675382" y="3498975"/>
            <a:ext cx="1336730" cy="1401730"/>
            <a:chOff x="6874626" y="2150226"/>
            <a:chExt cx="2990128" cy="3275619"/>
          </a:xfrm>
        </p:grpSpPr>
        <p:sp>
          <p:nvSpPr>
            <p:cNvPr id="34" name="Can 33"/>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35" name="Curved Connector 34"/>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1897899" y="3444162"/>
            <a:ext cx="1336730" cy="1401730"/>
            <a:chOff x="6874626" y="2150226"/>
            <a:chExt cx="2990128" cy="3275619"/>
          </a:xfrm>
        </p:grpSpPr>
        <p:sp>
          <p:nvSpPr>
            <p:cNvPr id="37" name="Can 36"/>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38" name="Curved Connector 37"/>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650060" y="2001801"/>
            <a:ext cx="1336730" cy="1401730"/>
            <a:chOff x="6874626" y="2150226"/>
            <a:chExt cx="2990128" cy="3275619"/>
          </a:xfrm>
        </p:grpSpPr>
        <p:sp>
          <p:nvSpPr>
            <p:cNvPr id="40" name="Can 39"/>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41" name="Curved Connector 40"/>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897899" y="2014885"/>
            <a:ext cx="1336730" cy="1401730"/>
            <a:chOff x="6874626" y="2150226"/>
            <a:chExt cx="2990128" cy="3275619"/>
          </a:xfrm>
        </p:grpSpPr>
        <p:sp>
          <p:nvSpPr>
            <p:cNvPr id="43" name="Can 42"/>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44" name="Curved Connector 43"/>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46" name="Can 45"/>
          <p:cNvSpPr/>
          <p:nvPr/>
        </p:nvSpPr>
        <p:spPr>
          <a:xfrm>
            <a:off x="1923221" y="4993277"/>
            <a:ext cx="1336730" cy="1401730"/>
          </a:xfrm>
          <a:prstGeom prst="can">
            <a:avLst/>
          </a:prstGeom>
          <a:solidFill>
            <a:schemeClr val="bg2">
              <a:lumMod val="75000"/>
            </a:schemeClr>
          </a:solidFill>
          <a:ln>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Can 47"/>
          <p:cNvSpPr/>
          <p:nvPr/>
        </p:nvSpPr>
        <p:spPr>
          <a:xfrm>
            <a:off x="3700704" y="4983065"/>
            <a:ext cx="1336730" cy="1401730"/>
          </a:xfrm>
          <a:prstGeom prst="can">
            <a:avLst/>
          </a:prstGeom>
          <a:solidFill>
            <a:schemeClr val="bg2">
              <a:lumMod val="75000"/>
            </a:schemeClr>
          </a:solidFill>
          <a:ln>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 name="Right Arrow 44"/>
          <p:cNvSpPr/>
          <p:nvPr/>
        </p:nvSpPr>
        <p:spPr>
          <a:xfrm>
            <a:off x="5556608" y="3734410"/>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TextBox 46"/>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all available containers</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818593873"/>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275481" y="3040128"/>
            <a:ext cx="3646462" cy="781125"/>
          </a:xfrm>
          <a:prstGeom prst="rect">
            <a:avLst/>
          </a:prstGeom>
        </p:spPr>
      </p:pic>
      <p:sp>
        <p:nvSpPr>
          <p:cNvPr id="12" name="Text Box 3"/>
          <p:cNvSpPr txBox="1">
            <a:spLocks noChangeArrowheads="1"/>
          </p:cNvSpPr>
          <p:nvPr/>
        </p:nvSpPr>
        <p:spPr bwMode="blackWhite">
          <a:xfrm>
            <a:off x="257512" y="6273623"/>
            <a:ext cx="10590844" cy="415452"/>
          </a:xfrm>
          <a:prstGeom prst="rect">
            <a:avLst/>
          </a:prstGeom>
          <a:noFill/>
          <a:ln w="12700">
            <a:noFill/>
            <a:miter lim="800000"/>
            <a:headEnd type="none" w="sm" len="sm"/>
            <a:tailEnd type="none" w="sm" len="sm"/>
          </a:ln>
          <a:effectLst/>
        </p:spPr>
        <p:txBody>
          <a:bodyPr vert="horz" wrap="square" lIns="91391" tIns="45697" rIns="91391" bIns="45697" numCol="1" anchor="t" anchorCtr="0" compatLnSpc="1">
            <a:prstTxWarp prst="textNoShape">
              <a:avLst/>
            </a:prstTxWarp>
            <a:spAutoFit/>
          </a:bodyPr>
          <a:lstStyle/>
          <a:p>
            <a:pPr defTabSz="913716"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716"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4968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Storage (HDFS)</a:t>
            </a:r>
            <a:endParaRPr lang="en-US" sz="2174" dirty="0">
              <a:solidFill>
                <a:prstClr val="white"/>
              </a:solidFill>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Query</a:t>
            </a:r>
          </a:p>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Processing</a:t>
            </a:r>
          </a:p>
          <a:p>
            <a:pPr algn="ctr" defTabSz="1242752"/>
            <a:r>
              <a:rPr lang="en-US" sz="2174" dirty="0">
                <a:solidFill>
                  <a:prstClr val="white"/>
                </a:solidFill>
                <a:cs typeface="Segoe UI" pitchFamily="34" charset="0"/>
              </a:rPr>
              <a:t>(MapReduce)</a:t>
            </a:r>
            <a:endParaRPr lang="en-US" sz="2174" dirty="0">
              <a:solidFill>
                <a:prstClr val="white"/>
              </a:solidFill>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Scripting</a:t>
            </a:r>
          </a:p>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NoSQL Database</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Metadata</a:t>
            </a:r>
          </a:p>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Data Integration</a:t>
            </a:r>
          </a:p>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Relational</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SQL Server) </a:t>
            </a:r>
          </a:p>
        </p:txBody>
      </p:sp>
      <p:sp>
        <p:nvSpPr>
          <p:cNvPr id="12" name="Rectangle 11"/>
          <p:cNvSpPr/>
          <p:nvPr/>
        </p:nvSpPr>
        <p:spPr bwMode="auto">
          <a:xfrm>
            <a:off x="6076842"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Graph</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5007689"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tats process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Hadoop)</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Pipeline</a:t>
            </a:r>
          </a:p>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smtClean="0">
                <a:gradFill>
                  <a:gsLst>
                    <a:gs pos="0">
                      <a:srgbClr val="FFFFFF"/>
                    </a:gs>
                    <a:gs pos="100000">
                      <a:srgbClr val="FFFFFF"/>
                    </a:gs>
                  </a:gsLst>
                  <a:lin ang="5400000" scaled="0"/>
                </a:gradFill>
                <a:ea typeface="Segoe UI" pitchFamily="34" charset="0"/>
                <a:cs typeface="Segoe UI" pitchFamily="34" charset="0"/>
              </a:rPr>
              <a:t>Cosmos DB</a:t>
            </a:r>
            <a:endParaRPr lang="en-US" sz="1494" spc="-4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Visual Studio Tools</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zure Blob </a:t>
            </a:r>
            <a:r>
              <a:rPr lang="en-US" sz="1494" spc="-40" dirty="0" smtClean="0">
                <a:gradFill>
                  <a:gsLst>
                    <a:gs pos="0">
                      <a:srgbClr val="FFFFFF"/>
                    </a:gs>
                    <a:gs pos="100000">
                      <a:srgbClr val="FFFFFF"/>
                    </a:gs>
                  </a:gsLst>
                  <a:lin ang="5400000" scaled="0"/>
                </a:gradFill>
                <a:ea typeface="Segoe UI" pitchFamily="34" charset="0"/>
                <a:cs typeface="Segoe UI" pitchFamily="34" charset="0"/>
              </a:rPr>
              <a:t>Storage and Azure Data Lake </a:t>
            </a:r>
            <a:r>
              <a:rPr lang="en-US" sz="1494" spc="-40" dirty="0" err="1" smtClean="0">
                <a:gradFill>
                  <a:gsLst>
                    <a:gs pos="0">
                      <a:srgbClr val="FFFFFF"/>
                    </a:gs>
                    <a:gs pos="100000">
                      <a:srgbClr val="FFFFFF"/>
                    </a:gs>
                  </a:gsLst>
                  <a:lin ang="5400000" scaled="0"/>
                </a:gradFill>
                <a:ea typeface="Segoe UI" pitchFamily="34" charset="0"/>
                <a:cs typeface="Segoe UI" pitchFamily="34" charset="0"/>
              </a:rPr>
              <a:t>STore</a:t>
            </a:r>
            <a:endParaRPr lang="en-US" sz="1494" spc="-40"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smtClean="0">
                <a:gradFill>
                  <a:gsLst>
                    <a:gs pos="0">
                      <a:srgbClr val="FFFFFF"/>
                    </a:gs>
                    <a:gs pos="100000">
                      <a:srgbClr val="FFFFFF"/>
                    </a:gs>
                  </a:gsLst>
                  <a:lin ang="5400000" scaled="0"/>
                </a:gradFill>
                <a:ea typeface="Segoe UI" pitchFamily="34" charset="0"/>
                <a:cs typeface="Segoe UI" pitchFamily="34" charset="0"/>
              </a:rPr>
              <a:t>Azure SQL DW</a:t>
            </a:r>
            <a:endParaRPr lang="en-US" sz="2039" spc="-4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Business Intelligence </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Excel, Power BI,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smtClean="0">
                <a:gradFill>
                  <a:gsLst>
                    <a:gs pos="0">
                      <a:srgbClr val="FFFFFF"/>
                    </a:gs>
                    <a:gs pos="100000">
                      <a:srgbClr val="FFFFFF"/>
                    </a:gs>
                  </a:gsLst>
                  <a:lin ang="5400000" scaled="0"/>
                </a:gradFill>
                <a:ea typeface="Segoe UI" pitchFamily="34" charset="0"/>
                <a:cs typeface="Segoe UI" pitchFamily="34" charset="0"/>
              </a:rPr>
              <a:t>Azure Data Catalog</a:t>
            </a:r>
            <a:endParaRPr lang="en-US" sz="1494" spc="-4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smtClean="0">
                <a:gradFill>
                  <a:gsLst>
                    <a:gs pos="0">
                      <a:srgbClr val="FFFFFF"/>
                    </a:gs>
                    <a:gs pos="100000">
                      <a:srgbClr val="FFFFFF"/>
                    </a:gs>
                  </a:gsLst>
                  <a:lin ang="5400000" scaled="0"/>
                </a:gradFill>
                <a:ea typeface="Segoe UI" pitchFamily="34" charset="0"/>
                <a:cs typeface="Segoe UI" pitchFamily="34" charset="0"/>
              </a:rPr>
              <a:t>Azure Stream Analytics</a:t>
            </a:r>
            <a:endParaRPr lang="en-US" sz="2174" spc="-4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custDataLst>
              <p:custData r:id="rId1"/>
            </p:custDataLst>
          </p:nvPr>
        </p:nvSpPr>
        <p:spPr>
          <a:xfrm>
            <a:off x="10294519" y="2564801"/>
            <a:ext cx="2238777" cy="955868"/>
          </a:xfrm>
          <a:prstGeom prst="rect">
            <a:avLst/>
          </a:prstGeom>
          <a:noFill/>
        </p:spPr>
        <p:txBody>
          <a:bodyPr wrap="square" lIns="93187" tIns="46592" rIns="93187" bIns="46592" rtlCol="0">
            <a:spAutoFit/>
          </a:bodyPr>
          <a:lstStyle/>
          <a:p>
            <a:pPr defTabSz="1242752"/>
            <a:r>
              <a:rPr lang="en-US" sz="2800" dirty="0">
                <a:solidFill>
                  <a:schemeClr val="accent1">
                    <a:lumMod val="60000"/>
                    <a:lumOff val="40000"/>
                  </a:schemeClr>
                </a:solidFill>
              </a:rPr>
              <a:t>Data Processing</a:t>
            </a:r>
          </a:p>
        </p:txBody>
      </p:sp>
      <p:sp>
        <p:nvSpPr>
          <p:cNvPr id="4" name="Text Placeholder 3"/>
          <p:cNvSpPr>
            <a:spLocks noGrp="1"/>
          </p:cNvSpPr>
          <p:nvPr>
            <p:ph type="body" sz="quarter" idx="13"/>
          </p:nvPr>
        </p:nvSpPr>
        <p:spPr>
          <a:xfrm>
            <a:off x="54033" y="113885"/>
            <a:ext cx="11784006" cy="1024684"/>
          </a:xfrm>
        </p:spPr>
        <p:txBody>
          <a:bodyPr/>
          <a:lstStyle/>
          <a:p>
            <a:r>
              <a:rPr lang="en-US" sz="4800" dirty="0"/>
              <a:t>HDInsight and the Hadoop </a:t>
            </a:r>
            <a:r>
              <a:rPr lang="en-US" sz="4800" strike="sngStrike" dirty="0"/>
              <a:t>Zoo</a:t>
            </a:r>
            <a:r>
              <a:rPr lang="en-US" sz="4800" dirty="0"/>
              <a:t> Ecosystem</a:t>
            </a:r>
            <a:endParaRPr lang="en-US" sz="4800" strike="sngStrike" dirty="0"/>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YARN</a:t>
            </a:r>
            <a:endParaRPr lang="en-US" sz="2174" dirty="0">
              <a:solidFill>
                <a:prstClr val="white"/>
              </a:solidFill>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eal Time Processing (Storm)</a:t>
            </a:r>
          </a:p>
        </p:txBody>
      </p:sp>
      <p:sp>
        <p:nvSpPr>
          <p:cNvPr id="33" name="Rectangle 32"/>
          <p:cNvSpPr/>
          <p:nvPr/>
        </p:nvSpPr>
        <p:spPr bwMode="auto">
          <a:xfrm>
            <a:off x="6067316" y="1563904"/>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MLLib</a:t>
            </a:r>
            <a:r>
              <a:rPr lang="en-US" sz="1494" spc="-40" dirty="0">
                <a:gradFill>
                  <a:gsLst>
                    <a:gs pos="0">
                      <a:srgbClr val="FFFFFF"/>
                    </a:gs>
                    <a:gs pos="100000">
                      <a:srgbClr val="FFFFFF"/>
                    </a:gs>
                  </a:gsLst>
                  <a:lin ang="5400000" scaled="0"/>
                </a:gradFill>
                <a:ea typeface="Segoe UI" pitchFamily="34" charset="0"/>
                <a:cs typeface="Segoe UI" pitchFamily="34" charset="0"/>
              </a:rPr>
              <a:t>/ Spark ML</a:t>
            </a:r>
          </a:p>
        </p:txBody>
      </p:sp>
      <p:sp>
        <p:nvSpPr>
          <p:cNvPr id="38" name="Rectangle 37"/>
          <p:cNvSpPr/>
          <p:nvPr/>
        </p:nvSpPr>
        <p:spPr bwMode="auto">
          <a:xfrm>
            <a:off x="3954792" y="1547776"/>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GraphX</a:t>
            </a:r>
            <a:r>
              <a:rPr lang="en-US" sz="1494" spc="-40" dirty="0">
                <a:gradFill>
                  <a:gsLst>
                    <a:gs pos="0">
                      <a:srgbClr val="FFFFFF"/>
                    </a:gs>
                    <a:gs pos="100000">
                      <a:srgbClr val="FFFFFF"/>
                    </a:gs>
                  </a:gsLst>
                  <a:lin ang="5400000" scaled="0"/>
                </a:gradFill>
                <a:ea typeface="Segoe UI" pitchFamily="34" charset="0"/>
                <a:cs typeface="Segoe UI" pitchFamily="34" charset="0"/>
              </a:rPr>
              <a:t>/</a:t>
            </a:r>
            <a:r>
              <a:rPr lang="en-US" sz="1494" spc="-40" dirty="0" err="1">
                <a:gradFill>
                  <a:gsLst>
                    <a:gs pos="0">
                      <a:srgbClr val="FFFFFF"/>
                    </a:gs>
                    <a:gs pos="100000">
                      <a:srgbClr val="FFFFFF"/>
                    </a:gs>
                  </a:gsLst>
                  <a:lin ang="5400000" scaled="0"/>
                </a:gradFill>
                <a:ea typeface="Segoe UI" pitchFamily="34" charset="0"/>
                <a:cs typeface="Segoe UI" pitchFamily="34" charset="0"/>
              </a:rPr>
              <a:t>GraphFrames</a:t>
            </a:r>
            <a:endParaRPr lang="en-US" sz="1494" spc="-4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5016374" y="1552048"/>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park SQL</a:t>
            </a:r>
          </a:p>
        </p:txBody>
      </p:sp>
      <p:sp>
        <p:nvSpPr>
          <p:cNvPr id="42" name="TextBox 41"/>
          <p:cNvSpPr txBox="1"/>
          <p:nvPr>
            <p:custDataLst>
              <p:custData r:id="rId2"/>
            </p:custDataLst>
          </p:nvPr>
        </p:nvSpPr>
        <p:spPr>
          <a:xfrm>
            <a:off x="10257102" y="1531448"/>
            <a:ext cx="2238777" cy="955868"/>
          </a:xfrm>
          <a:prstGeom prst="rect">
            <a:avLst/>
          </a:prstGeom>
          <a:noFill/>
        </p:spPr>
        <p:txBody>
          <a:bodyPr wrap="square" lIns="93187" tIns="46592" rIns="93187" bIns="46592" rtlCol="0">
            <a:spAutoFit/>
          </a:bodyPr>
          <a:lstStyle/>
          <a:p>
            <a:pPr defTabSz="1242752"/>
            <a:r>
              <a:rPr lang="en-US" sz="2800" dirty="0">
                <a:solidFill>
                  <a:srgbClr val="C00000"/>
                </a:solidFill>
              </a:rPr>
              <a:t>Core Hadoop</a:t>
            </a:r>
          </a:p>
        </p:txBody>
      </p:sp>
      <p:sp>
        <p:nvSpPr>
          <p:cNvPr id="43" name="TextBox 42"/>
          <p:cNvSpPr txBox="1"/>
          <p:nvPr>
            <p:custDataLst>
              <p:custData r:id="rId3"/>
            </p:custDataLst>
          </p:nvPr>
        </p:nvSpPr>
        <p:spPr>
          <a:xfrm>
            <a:off x="10256918" y="3572217"/>
            <a:ext cx="2238777" cy="955868"/>
          </a:xfrm>
          <a:prstGeom prst="rect">
            <a:avLst/>
          </a:prstGeom>
          <a:noFill/>
        </p:spPr>
        <p:txBody>
          <a:bodyPr wrap="square" lIns="93187" tIns="46592" rIns="93187" bIns="46592" rtlCol="0">
            <a:spAutoFit/>
          </a:bodyPr>
          <a:lstStyle/>
          <a:p>
            <a:pPr defTabSz="1242752"/>
            <a:r>
              <a:rPr lang="en-US" sz="2800" dirty="0">
                <a:solidFill>
                  <a:schemeClr val="tx2"/>
                </a:solidFill>
              </a:rPr>
              <a:t>Microsoft Integration</a:t>
            </a:r>
          </a:p>
        </p:txBody>
      </p:sp>
      <p:sp>
        <p:nvSpPr>
          <p:cNvPr id="44" name="TextBox 43"/>
          <p:cNvSpPr txBox="1"/>
          <p:nvPr>
            <p:custDataLst>
              <p:custData r:id="rId4"/>
            </p:custDataLst>
          </p:nvPr>
        </p:nvSpPr>
        <p:spPr>
          <a:xfrm>
            <a:off x="10256918" y="4657118"/>
            <a:ext cx="2238777" cy="955868"/>
          </a:xfrm>
          <a:prstGeom prst="rect">
            <a:avLst/>
          </a:prstGeom>
          <a:noFill/>
        </p:spPr>
        <p:txBody>
          <a:bodyPr wrap="square" lIns="93187" tIns="46592" rIns="93187" bIns="46592" rtlCol="0">
            <a:spAutoFit/>
          </a:bodyPr>
          <a:lstStyle/>
          <a:p>
            <a:pPr defTabSz="1242752"/>
            <a:r>
              <a:rPr lang="en-US" sz="2800" dirty="0">
                <a:solidFill>
                  <a:srgbClr val="FFC000"/>
                </a:solidFill>
              </a:rPr>
              <a:t>Data Movement</a:t>
            </a:r>
          </a:p>
        </p:txBody>
      </p:sp>
      <p:sp>
        <p:nvSpPr>
          <p:cNvPr id="45" name="TextBox 44"/>
          <p:cNvSpPr txBox="1"/>
          <p:nvPr>
            <p:custDataLst>
              <p:custData r:id="rId5"/>
            </p:custDataLst>
          </p:nvPr>
        </p:nvSpPr>
        <p:spPr>
          <a:xfrm>
            <a:off x="10221289" y="5674156"/>
            <a:ext cx="2238777" cy="524981"/>
          </a:xfrm>
          <a:prstGeom prst="rect">
            <a:avLst/>
          </a:prstGeom>
          <a:noFill/>
        </p:spPr>
        <p:txBody>
          <a:bodyPr wrap="square" lIns="93187" tIns="46592" rIns="93187" bIns="46592" rtlCol="0">
            <a:spAutoFit/>
          </a:bodyPr>
          <a:lstStyle/>
          <a:p>
            <a:pPr defTabSz="1242752"/>
            <a:r>
              <a:rPr lang="en-US" sz="2800" dirty="0">
                <a:solidFill>
                  <a:srgbClr val="92D050"/>
                </a:solidFill>
              </a:rPr>
              <a:t>ML Packages</a:t>
            </a:r>
          </a:p>
        </p:txBody>
      </p:sp>
      <p:sp>
        <p:nvSpPr>
          <p:cNvPr id="46" name="Rectangle 45"/>
          <p:cNvSpPr/>
          <p:nvPr/>
        </p:nvSpPr>
        <p:spPr bwMode="auto">
          <a:xfrm>
            <a:off x="7995309" y="451751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rgbClr val="FFFF00"/>
                </a:solidFill>
                <a:ea typeface="Segoe UI" pitchFamily="34" charset="0"/>
                <a:cs typeface="Segoe UI" pitchFamily="34" charset="0"/>
              </a:rPr>
              <a:t>Microsoft R Server (Enterprise R in the Cloud)</a:t>
            </a:r>
          </a:p>
        </p:txBody>
      </p:sp>
    </p:spTree>
    <p:extLst>
      <p:ext uri="{BB962C8B-B14F-4D97-AF65-F5344CB8AC3E}">
        <p14:creationId xmlns:p14="http://schemas.microsoft.com/office/powerpoint/2010/main" val="104844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500"/>
                                        <p:tgtEl>
                                          <p:spTgt spid="36"/>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43"/>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500"/>
                                        <p:tgtEl>
                                          <p:spTgt spid="2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44"/>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40"/>
                                        </p:tgtEl>
                                        <p:attrNameLst>
                                          <p:attrName>style.visibility</p:attrName>
                                        </p:attrNameLst>
                                      </p:cBhvr>
                                      <p:to>
                                        <p:strVal val="visible"/>
                                      </p:to>
                                    </p:set>
                                    <p:animEffect transition="in" filter="fade">
                                      <p:cBhvr>
                                        <p:cTn id="86" dur="500"/>
                                        <p:tgtEl>
                                          <p:spTgt spid="4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8"/>
                                        </p:tgtEl>
                                        <p:attrNameLst>
                                          <p:attrName>style.visibility</p:attrName>
                                        </p:attrNameLst>
                                      </p:cBhvr>
                                      <p:to>
                                        <p:strVal val="visible"/>
                                      </p:to>
                                    </p:set>
                                    <p:animEffect transition="in" filter="fade">
                                      <p:cBhvr>
                                        <p:cTn id="89" dur="500"/>
                                        <p:tgtEl>
                                          <p:spTgt spid="18"/>
                                        </p:tgtEl>
                                      </p:cBhvr>
                                    </p:animEffec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45"/>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3"/>
                                        </p:tgtEl>
                                        <p:attrNameLst>
                                          <p:attrName>style.visibility</p:attrName>
                                        </p:attrNameLst>
                                      </p:cBhvr>
                                      <p:to>
                                        <p:strVal val="visible"/>
                                      </p:to>
                                    </p:set>
                                    <p:animEffect transition="in" filter="fade">
                                      <p:cBhvr>
                                        <p:cTn id="98" dur="500"/>
                                        <p:tgtEl>
                                          <p:spTgt spid="1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4"/>
                                        </p:tgtEl>
                                        <p:attrNameLst>
                                          <p:attrName>style.visibility</p:attrName>
                                        </p:attrNameLst>
                                      </p:cBhvr>
                                      <p:to>
                                        <p:strVal val="visible"/>
                                      </p:to>
                                    </p:set>
                                    <p:animEffect transition="in" filter="fade">
                                      <p:cBhvr>
                                        <p:cTn id="101" dur="500"/>
                                        <p:tgtEl>
                                          <p:spTgt spid="1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2"/>
                                        </p:tgtEl>
                                        <p:attrNameLst>
                                          <p:attrName>style.visibility</p:attrName>
                                        </p:attrNameLst>
                                      </p:cBhvr>
                                      <p:to>
                                        <p:strVal val="visible"/>
                                      </p:to>
                                    </p:set>
                                    <p:animEffect transition="in" filter="fade">
                                      <p:cBhvr>
                                        <p:cTn id="104" dur="500"/>
                                        <p:tgtEl>
                                          <p:spTgt spid="12"/>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38"/>
                                        </p:tgtEl>
                                        <p:attrNameLst>
                                          <p:attrName>style.visibility</p:attrName>
                                        </p:attrNameLst>
                                      </p:cBhvr>
                                      <p:to>
                                        <p:strVal val="visible"/>
                                      </p:to>
                                    </p:set>
                                    <p:animEffect transition="in" filter="fade">
                                      <p:cBhvr>
                                        <p:cTn id="109" dur="500"/>
                                        <p:tgtEl>
                                          <p:spTgt spid="38"/>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9"/>
                                        </p:tgtEl>
                                        <p:attrNameLst>
                                          <p:attrName>style.visibility</p:attrName>
                                        </p:attrNameLst>
                                      </p:cBhvr>
                                      <p:to>
                                        <p:strVal val="visible"/>
                                      </p:to>
                                    </p:set>
                                    <p:animEffect transition="in" filter="fade">
                                      <p:cBhvr>
                                        <p:cTn id="112" dur="500"/>
                                        <p:tgtEl>
                                          <p:spTgt spid="39"/>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3"/>
                                        </p:tgtEl>
                                        <p:attrNameLst>
                                          <p:attrName>style.visibility</p:attrName>
                                        </p:attrNameLst>
                                      </p:cBhvr>
                                      <p:to>
                                        <p:strVal val="visible"/>
                                      </p:to>
                                    </p:set>
                                    <p:animEffect transition="in" filter="fade">
                                      <p:cBhvr>
                                        <p:cTn id="115" dur="500"/>
                                        <p:tgtEl>
                                          <p:spTgt spid="3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 grpId="0"/>
      <p:bldP spid="27" grpId="0" animBg="1"/>
      <p:bldP spid="30" grpId="0" animBg="1"/>
      <p:bldP spid="33" grpId="0" animBg="1"/>
      <p:bldP spid="38" grpId="0" animBg="1"/>
      <p:bldP spid="39" grpId="0" animBg="1"/>
      <p:bldP spid="42" grpId="0"/>
      <p:bldP spid="43" grpId="0"/>
      <p:bldP spid="44" grpId="0"/>
      <p:bldP spid="45" grpId="0"/>
      <p:bldP spid="46"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7343" dirty="0"/>
              <a:t>Fundamentals of Hadoop on HDInsight</a:t>
            </a:r>
          </a:p>
        </p:txBody>
      </p:sp>
    </p:spTree>
    <p:extLst>
      <p:ext uri="{BB962C8B-B14F-4D97-AF65-F5344CB8AC3E}">
        <p14:creationId xmlns:p14="http://schemas.microsoft.com/office/powerpoint/2010/main" val="391548331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43265" y="1405535"/>
            <a:ext cx="8627165" cy="443082"/>
            <a:chOff x="821550" y="364537"/>
            <a:chExt cx="7313575" cy="442424"/>
          </a:xfrm>
          <a:solidFill>
            <a:srgbClr val="0078D7"/>
          </a:solidFill>
        </p:grpSpPr>
        <p:sp>
          <p:nvSpPr>
            <p:cNvPr id="38" name="Pentagon 63"/>
            <p:cNvSpPr/>
            <p:nvPr/>
          </p:nvSpPr>
          <p:spPr bwMode="auto">
            <a:xfrm>
              <a:off x="4179199" y="364537"/>
              <a:ext cx="3955926"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349656" indent="-349656" algn="ctr" defTabSz="950846" fontAlgn="base">
                <a:lnSpc>
                  <a:spcPct val="90000"/>
                </a:lnSpc>
                <a:spcBef>
                  <a:spcPct val="0"/>
                </a:spcBef>
                <a:spcAft>
                  <a:spcPct val="0"/>
                </a:spcAft>
                <a:buFont typeface="Wingdings 3" panose="05040102010807070707" pitchFamily="18" charset="2"/>
                <a:buChar char="Æ"/>
                <a:defRPr/>
              </a:pPr>
              <a:endParaRPr lang="en-US" sz="1428" b="1" kern="0" dirty="0" err="1">
                <a:solidFill>
                  <a:srgbClr val="FFFFFF"/>
                </a:solidFill>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349656" indent="-349656" algn="ctr" defTabSz="950846" fontAlgn="base">
                <a:lnSpc>
                  <a:spcPct val="90000"/>
                </a:lnSpc>
                <a:spcBef>
                  <a:spcPct val="0"/>
                </a:spcBef>
                <a:spcAft>
                  <a:spcPct val="0"/>
                </a:spcAft>
                <a:buFont typeface="Wingdings 3" panose="05040102010807070707" pitchFamily="18" charset="2"/>
                <a:buChar char="Æ"/>
                <a:defRPr/>
              </a:pPr>
              <a:endParaRPr lang="en-US" sz="1428" b="1" kern="0" dirty="0" err="1">
                <a:solidFill>
                  <a:srgbClr val="FFFFFF"/>
                </a:solidFill>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noFill/>
          </p:spPr>
          <p:txBody>
            <a:bodyPr wrap="square" lIns="186494" tIns="149196" rIns="186494" bIns="149196" rtlCol="0" anchor="ctr">
              <a:noAutofit/>
            </a:bodyPr>
            <a:lstStyle/>
            <a:p>
              <a:pPr defTabSz="932418">
                <a:lnSpc>
                  <a:spcPct val="90000"/>
                </a:lnSpc>
                <a:spcAft>
                  <a:spcPts val="612"/>
                </a:spcAft>
                <a:defRPr/>
              </a:pPr>
              <a:r>
                <a:rPr lang="en-US" sz="1224" b="1" dirty="0">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noFill/>
          </p:spPr>
          <p:txBody>
            <a:bodyPr wrap="square" lIns="186494" tIns="149196" rIns="186494" bIns="149196" rtlCol="0" anchor="ctr">
              <a:noAutofit/>
            </a:bodyPr>
            <a:lstStyle/>
            <a:p>
              <a:pPr algn="r" defTabSz="932418">
                <a:lnSpc>
                  <a:spcPct val="90000"/>
                </a:lnSpc>
                <a:spcAft>
                  <a:spcPts val="612"/>
                </a:spcAft>
                <a:defRPr/>
              </a:pPr>
              <a:r>
                <a:rPr lang="en-US" sz="1224" b="1" dirty="0">
                  <a:ea typeface="Segoe UI" pitchFamily="34" charset="0"/>
                  <a:cs typeface="Segoe UI" pitchFamily="34" charset="0"/>
                </a:rPr>
                <a:t>EASE OF USE</a:t>
              </a:r>
            </a:p>
          </p:txBody>
        </p:sp>
      </p:grpSp>
      <p:sp>
        <p:nvSpPr>
          <p:cNvPr id="12" name="Rectangle 11"/>
          <p:cNvSpPr/>
          <p:nvPr/>
        </p:nvSpPr>
        <p:spPr>
          <a:xfrm>
            <a:off x="6327238" y="4867235"/>
            <a:ext cx="1720194" cy="449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prstClr val="white"/>
                </a:solidFill>
                <a:latin typeface="Segoe UI" panose="020B0502040204020203" pitchFamily="34" charset="0"/>
                <a:cs typeface="Segoe UI" panose="020B0502040204020203" pitchFamily="34" charset="0"/>
              </a:rPr>
              <a:t>Azure Data Lake Analytics</a:t>
            </a:r>
          </a:p>
        </p:txBody>
      </p:sp>
      <p:grpSp>
        <p:nvGrpSpPr>
          <p:cNvPr id="9" name="Group 8"/>
          <p:cNvGrpSpPr/>
          <p:nvPr/>
        </p:nvGrpSpPr>
        <p:grpSpPr>
          <a:xfrm>
            <a:off x="2361787" y="5164037"/>
            <a:ext cx="7908811" cy="1159113"/>
            <a:chOff x="2657138" y="4258826"/>
            <a:chExt cx="7754440" cy="1136488"/>
          </a:xfrm>
        </p:grpSpPr>
        <p:sp>
          <p:nvSpPr>
            <p:cNvPr id="13" name="Rectangle 12"/>
            <p:cNvSpPr/>
            <p:nvPr/>
          </p:nvSpPr>
          <p:spPr>
            <a:xfrm>
              <a:off x="2657138" y="4258826"/>
              <a:ext cx="7754439" cy="5486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b="1" dirty="0">
                  <a:solidFill>
                    <a:schemeClr val="tx1"/>
                  </a:solidFill>
                  <a:latin typeface="Segoe UI" panose="020B0502040204020203" pitchFamily="34" charset="0"/>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b="1" dirty="0">
                  <a:solidFill>
                    <a:schemeClr val="tx1"/>
                  </a:solidFill>
                  <a:latin typeface="Segoe UI" panose="020B0502040204020203" pitchFamily="34" charset="0"/>
                  <a:cs typeface="Segoe UI" panose="020B0502040204020203" pitchFamily="34" charset="0"/>
                </a:rPr>
                <a:t>Azure Storage</a:t>
              </a:r>
            </a:p>
          </p:txBody>
        </p:sp>
      </p:grpSp>
      <p:sp>
        <p:nvSpPr>
          <p:cNvPr id="16" name="Rectangle 15"/>
          <p:cNvSpPr/>
          <p:nvPr/>
        </p:nvSpPr>
        <p:spPr>
          <a:xfrm>
            <a:off x="2241755" y="5064702"/>
            <a:ext cx="8145074" cy="1374640"/>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8" name="Group 7"/>
          <p:cNvGrpSpPr/>
          <p:nvPr/>
        </p:nvGrpSpPr>
        <p:grpSpPr>
          <a:xfrm>
            <a:off x="2353840" y="1935449"/>
            <a:ext cx="7964423" cy="3058050"/>
            <a:chOff x="2657138" y="957414"/>
            <a:chExt cx="7808967" cy="2998360"/>
          </a:xfrm>
        </p:grpSpPr>
        <p:sp>
          <p:nvSpPr>
            <p:cNvPr id="4" name="Rectangle 3"/>
            <p:cNvSpPr/>
            <p:nvPr/>
          </p:nvSpPr>
          <p:spPr>
            <a:xfrm>
              <a:off x="2657138" y="2231609"/>
              <a:ext cx="2560320" cy="128932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46083" rtlCol="0" anchor="ctr"/>
            <a:lstStyle/>
            <a:p>
              <a:pPr algn="ctr"/>
              <a:r>
                <a:rPr lang="en-US" sz="1428" dirty="0">
                  <a:solidFill>
                    <a:prstClr val="white"/>
                  </a:solidFill>
                  <a:latin typeface="Segoe UI" panose="020B0502040204020203" pitchFamily="34" charset="0"/>
                  <a:cs typeface="Segoe UI" panose="020B0502040204020203" pitchFamily="34" charset="0"/>
                </a:rPr>
                <a:t>Any Hadoop technology</a:t>
              </a:r>
            </a:p>
          </p:txBody>
        </p:sp>
        <p:sp>
          <p:nvSpPr>
            <p:cNvPr id="5" name="Rectangle 4"/>
            <p:cNvSpPr/>
            <p:nvPr/>
          </p:nvSpPr>
          <p:spPr>
            <a:xfrm>
              <a:off x="5260127" y="1703551"/>
              <a:ext cx="2560320" cy="182128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46083" rtlCol="0" anchor="ctr"/>
            <a:lstStyle/>
            <a:p>
              <a:pPr algn="ctr"/>
              <a:r>
                <a:rPr lang="en-US" sz="1428" dirty="0">
                  <a:solidFill>
                    <a:schemeClr val="tx1"/>
                  </a:solidFill>
                  <a:latin typeface="Segoe UI" panose="020B0502040204020203" pitchFamily="34" charset="0"/>
                  <a:cs typeface="Segoe UI" panose="020B0502040204020203" pitchFamily="34" charset="0"/>
                </a:rPr>
                <a:t>Workload optimized, managed clusters</a:t>
              </a:r>
            </a:p>
          </p:txBody>
        </p:sp>
        <p:sp>
          <p:nvSpPr>
            <p:cNvPr id="6" name="Rectangle 5"/>
            <p:cNvSpPr/>
            <p:nvPr/>
          </p:nvSpPr>
          <p:spPr>
            <a:xfrm>
              <a:off x="7863116" y="957414"/>
              <a:ext cx="2560320" cy="256742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46083" rtlCol="0" anchor="ctr"/>
            <a:lstStyle/>
            <a:p>
              <a:pPr algn="ctr"/>
              <a:r>
                <a:rPr lang="en-US" sz="1428" dirty="0">
                  <a:solidFill>
                    <a:schemeClr val="tx1"/>
                  </a:solidFill>
                  <a:latin typeface="Segoe UI" panose="020B0502040204020203" pitchFamily="34" charset="0"/>
                  <a:cs typeface="Segoe UI" panose="020B0502040204020203" pitchFamily="34" charset="0"/>
                </a:rPr>
                <a:t>Specific apps in a multi-tenant form factor</a:t>
              </a:r>
            </a:p>
          </p:txBody>
        </p:sp>
        <p:sp>
          <p:nvSpPr>
            <p:cNvPr id="10" name="Rectangle 9"/>
            <p:cNvSpPr/>
            <p:nvPr/>
          </p:nvSpPr>
          <p:spPr>
            <a:xfrm>
              <a:off x="2887574" y="2461517"/>
              <a:ext cx="2099448" cy="3347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b="1" dirty="0">
                  <a:solidFill>
                    <a:schemeClr val="tx1"/>
                  </a:solidFill>
                  <a:latin typeface="Segoe UI" panose="020B0502040204020203" pitchFamily="34" charset="0"/>
                  <a:cs typeface="Segoe UI" panose="020B0502040204020203" pitchFamily="34" charset="0"/>
                </a:rPr>
                <a:t>Azure Marketplace</a:t>
              </a:r>
            </a:p>
            <a:p>
              <a:pPr algn="ctr"/>
              <a:r>
                <a:rPr lang="en-US" sz="1632" b="1" dirty="0">
                  <a:solidFill>
                    <a:schemeClr val="tx1"/>
                  </a:solidFill>
                  <a:latin typeface="Segoe UI" panose="020B0502040204020203" pitchFamily="34" charset="0"/>
                  <a:cs typeface="Segoe UI" panose="020B0502040204020203" pitchFamily="34" charset="0"/>
                </a:rPr>
                <a:t>HDP | CDH | </a:t>
              </a:r>
              <a:r>
                <a:rPr lang="en-US" sz="1632" b="1" dirty="0" err="1">
                  <a:solidFill>
                    <a:schemeClr val="tx1"/>
                  </a:solidFill>
                  <a:latin typeface="Segoe UI" panose="020B0502040204020203" pitchFamily="34" charset="0"/>
                  <a:cs typeface="Segoe UI" panose="020B0502040204020203" pitchFamily="34" charset="0"/>
                </a:rPr>
                <a:t>MapR</a:t>
              </a:r>
              <a:endParaRPr lang="en-US" sz="1632" b="1" dirty="0">
                <a:solidFill>
                  <a:schemeClr val="tx1"/>
                </a:solidFill>
                <a:latin typeface="Segoe UI" panose="020B0502040204020203" pitchFamily="34" charset="0"/>
                <a:cs typeface="Segoe UI" panose="020B0502040204020203" pitchFamily="34" charset="0"/>
              </a:endParaRPr>
            </a:p>
          </p:txBody>
        </p:sp>
        <p:sp>
          <p:nvSpPr>
            <p:cNvPr id="11" name="Rectangle 10"/>
            <p:cNvSpPr/>
            <p:nvPr/>
          </p:nvSpPr>
          <p:spPr>
            <a:xfrm>
              <a:off x="7929504" y="1223013"/>
              <a:ext cx="2536601" cy="3349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b="1" dirty="0">
                  <a:solidFill>
                    <a:schemeClr val="tx1"/>
                  </a:solidFill>
                  <a:latin typeface="Segoe UI" panose="020B0502040204020203" pitchFamily="34" charset="0"/>
                  <a:cs typeface="Segoe UI" panose="020B0502040204020203" pitchFamily="34" charset="0"/>
                </a:rPr>
                <a:t>Azure Data Lake Analytics</a:t>
              </a:r>
            </a:p>
          </p:txBody>
        </p:sp>
        <p:sp>
          <p:nvSpPr>
            <p:cNvPr id="48" name="Rectangle 47"/>
            <p:cNvSpPr/>
            <p:nvPr/>
          </p:nvSpPr>
          <p:spPr bwMode="auto">
            <a:xfrm>
              <a:off x="2904026"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224" b="1" dirty="0">
                  <a:solidFill>
                    <a:schemeClr val="bg1"/>
                  </a:solidFill>
                  <a:ea typeface="Segoe UI" pitchFamily="34" charset="0"/>
                  <a:cs typeface="Segoe UI" pitchFamily="34" charset="0"/>
                </a:rPr>
                <a:t>IaaS Hadoop</a:t>
              </a:r>
            </a:p>
          </p:txBody>
        </p:sp>
        <p:sp>
          <p:nvSpPr>
            <p:cNvPr id="54" name="Rectangle 53"/>
            <p:cNvSpPr/>
            <p:nvPr/>
          </p:nvSpPr>
          <p:spPr bwMode="auto">
            <a:xfrm>
              <a:off x="5507015"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224" b="1" dirty="0">
                  <a:solidFill>
                    <a:schemeClr val="bg1"/>
                  </a:solidFill>
                  <a:ea typeface="Segoe UI" pitchFamily="34" charset="0"/>
                  <a:cs typeface="Segoe UI" pitchFamily="34" charset="0"/>
                </a:rPr>
                <a:t>Managed Hadoop</a:t>
              </a:r>
            </a:p>
          </p:txBody>
        </p:sp>
        <p:sp>
          <p:nvSpPr>
            <p:cNvPr id="55" name="Rectangle 54"/>
            <p:cNvSpPr/>
            <p:nvPr/>
          </p:nvSpPr>
          <p:spPr bwMode="auto">
            <a:xfrm>
              <a:off x="8110004"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224" b="1" dirty="0">
                  <a:solidFill>
                    <a:schemeClr val="bg1"/>
                  </a:solidFill>
                  <a:ea typeface="Segoe UI" pitchFamily="34" charset="0"/>
                  <a:cs typeface="Segoe UI" pitchFamily="34" charset="0"/>
                </a:rPr>
                <a:t>Big Data as-a-service</a:t>
              </a:r>
            </a:p>
          </p:txBody>
        </p:sp>
        <p:sp>
          <p:nvSpPr>
            <p:cNvPr id="56" name="Rectangle 55"/>
            <p:cNvSpPr/>
            <p:nvPr/>
          </p:nvSpPr>
          <p:spPr>
            <a:xfrm>
              <a:off x="5588935" y="1950528"/>
              <a:ext cx="1902705" cy="281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b="1" dirty="0">
                  <a:solidFill>
                    <a:schemeClr val="tx1"/>
                  </a:solidFill>
                  <a:latin typeface="Segoe UI" panose="020B0502040204020203" pitchFamily="34" charset="0"/>
                  <a:cs typeface="Segoe UI" panose="020B0502040204020203" pitchFamily="34" charset="0"/>
                </a:rPr>
                <a:t>Azure HDInsight</a:t>
              </a:r>
            </a:p>
          </p:txBody>
        </p:sp>
      </p:grpSp>
      <p:sp>
        <p:nvSpPr>
          <p:cNvPr id="3" name="TextBox 2"/>
          <p:cNvSpPr txBox="1"/>
          <p:nvPr/>
        </p:nvSpPr>
        <p:spPr>
          <a:xfrm rot="16200000">
            <a:off x="9975776" y="5428441"/>
            <a:ext cx="1374640" cy="647165"/>
          </a:xfrm>
          <a:prstGeom prst="rect">
            <a:avLst/>
          </a:prstGeom>
          <a:noFill/>
        </p:spPr>
        <p:txBody>
          <a:bodyPr wrap="square" lIns="186521" tIns="149217" rIns="186521" bIns="149217" rtlCol="0">
            <a:spAutoFit/>
          </a:bodyPr>
          <a:lstStyle/>
          <a:p>
            <a:pPr algn="ctr">
              <a:lnSpc>
                <a:spcPct val="90000"/>
              </a:lnSpc>
              <a:spcAft>
                <a:spcPts val="612"/>
              </a:spcAft>
            </a:pPr>
            <a:r>
              <a:rPr lang="en-US" sz="1224" b="1" dirty="0">
                <a:solidFill>
                  <a:srgbClr val="00BCF2"/>
                </a:solidFill>
                <a:ea typeface="Segoe UI" pitchFamily="34" charset="0"/>
                <a:cs typeface="Segoe UI" pitchFamily="34" charset="0"/>
              </a:rPr>
              <a:t>BIG DATA STORAGE</a:t>
            </a:r>
          </a:p>
        </p:txBody>
      </p:sp>
      <p:sp>
        <p:nvSpPr>
          <p:cNvPr id="24" name="TextBox 23"/>
          <p:cNvSpPr txBox="1"/>
          <p:nvPr/>
        </p:nvSpPr>
        <p:spPr>
          <a:xfrm rot="16200000">
            <a:off x="9360491" y="3341971"/>
            <a:ext cx="2605208" cy="647165"/>
          </a:xfrm>
          <a:prstGeom prst="rect">
            <a:avLst/>
          </a:prstGeom>
          <a:noFill/>
        </p:spPr>
        <p:txBody>
          <a:bodyPr wrap="square" lIns="186521" tIns="149217" rIns="186521" bIns="149217" rtlCol="0">
            <a:spAutoFit/>
          </a:bodyPr>
          <a:lstStyle/>
          <a:p>
            <a:pPr algn="ctr">
              <a:lnSpc>
                <a:spcPct val="90000"/>
              </a:lnSpc>
              <a:spcAft>
                <a:spcPts val="612"/>
              </a:spcAft>
            </a:pPr>
            <a:r>
              <a:rPr lang="en-US" sz="1224" b="1" dirty="0">
                <a:solidFill>
                  <a:srgbClr val="00BCF2"/>
                </a:solidFill>
                <a:ea typeface="Segoe UI" pitchFamily="34" charset="0"/>
                <a:cs typeface="Segoe UI" pitchFamily="34" charset="0"/>
              </a:rPr>
              <a:t>BIG DATA </a:t>
            </a:r>
            <a:br>
              <a:rPr lang="en-US" sz="1224" b="1" dirty="0">
                <a:solidFill>
                  <a:srgbClr val="00BCF2"/>
                </a:solidFill>
                <a:ea typeface="Segoe UI" pitchFamily="34" charset="0"/>
                <a:cs typeface="Segoe UI" pitchFamily="34" charset="0"/>
              </a:rPr>
            </a:br>
            <a:r>
              <a:rPr lang="en-US" sz="1224" b="1" dirty="0">
                <a:solidFill>
                  <a:srgbClr val="00BCF2"/>
                </a:solidFill>
                <a:ea typeface="Segoe UI" pitchFamily="34" charset="0"/>
                <a:cs typeface="Segoe UI" pitchFamily="34" charset="0"/>
              </a:rPr>
              <a:t>ANALYTICS</a:t>
            </a:r>
          </a:p>
        </p:txBody>
      </p:sp>
      <p:sp>
        <p:nvSpPr>
          <p:cNvPr id="25" name="Rectangle 24"/>
          <p:cNvSpPr/>
          <p:nvPr/>
        </p:nvSpPr>
        <p:spPr>
          <a:xfrm>
            <a:off x="2241755" y="1919821"/>
            <a:ext cx="8145074" cy="3022994"/>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9" name="Pentagon 63"/>
          <p:cNvSpPr/>
          <p:nvPr/>
        </p:nvSpPr>
        <p:spPr bwMode="auto">
          <a:xfrm rot="16200000">
            <a:off x="423131" y="3069707"/>
            <a:ext cx="3303134" cy="443082"/>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r" defTabSz="950846" fontAlgn="base">
              <a:lnSpc>
                <a:spcPct val="90000"/>
              </a:lnSpc>
              <a:spcBef>
                <a:spcPct val="0"/>
              </a:spcBef>
              <a:spcAft>
                <a:spcPct val="0"/>
              </a:spcAft>
              <a:defRPr/>
            </a:pPr>
            <a:r>
              <a:rPr lang="en-US" sz="1428" b="1" kern="0" dirty="0">
                <a:solidFill>
                  <a:srgbClr val="FFFFFF"/>
                </a:solidFill>
                <a:ea typeface="Segoe UI" pitchFamily="34" charset="0"/>
                <a:cs typeface="Segoe UI Semibold" panose="020B0702040204020203" pitchFamily="34" charset="0"/>
              </a:rPr>
              <a:t>User Adoption</a:t>
            </a:r>
          </a:p>
        </p:txBody>
      </p:sp>
      <p:sp>
        <p:nvSpPr>
          <p:cNvPr id="27" name="Title 3"/>
          <p:cNvSpPr txBox="1">
            <a:spLocks/>
          </p:cNvSpPr>
          <p:nvPr/>
        </p:nvSpPr>
        <p:spPr>
          <a:xfrm>
            <a:off x="96197" y="-73890"/>
            <a:ext cx="11887878" cy="917575"/>
          </a:xfrm>
          <a:prstGeom prst="rect">
            <a:avLst/>
          </a:prstGeom>
        </p:spPr>
        <p:txBody>
          <a:bodyPr vert="horz" wrap="square" lIns="149217" tIns="93260" rIns="149217" bIns="9326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a:lnSpc>
                <a:spcPct val="100000"/>
              </a:lnSpc>
              <a:spcBef>
                <a:spcPts val="0"/>
              </a:spcBef>
              <a:defRPr/>
            </a:pPr>
            <a:endParaRPr lang="en-US" sz="4488" dirty="0"/>
          </a:p>
        </p:txBody>
      </p:sp>
      <p:sp>
        <p:nvSpPr>
          <p:cNvPr id="28" name="Title 1"/>
          <p:cNvSpPr>
            <a:spLocks noGrp="1"/>
          </p:cNvSpPr>
          <p:nvPr>
            <p:ph type="title"/>
          </p:nvPr>
        </p:nvSpPr>
        <p:spPr>
          <a:xfrm>
            <a:off x="61760" y="122204"/>
            <a:ext cx="12373833" cy="917575"/>
          </a:xfrm>
        </p:spPr>
        <p:txBody>
          <a:bodyPr/>
          <a:lstStyle/>
          <a:p>
            <a:pPr>
              <a:spcBef>
                <a:spcPts val="306"/>
              </a:spcBef>
            </a:pPr>
            <a:r>
              <a:rPr lang="en-US" dirty="0"/>
              <a:t>Positioning the various big data solutions</a:t>
            </a:r>
            <a:endParaRPr lang="en-US" sz="2448" dirty="0"/>
          </a:p>
        </p:txBody>
      </p:sp>
    </p:spTree>
    <p:extLst>
      <p:ext uri="{BB962C8B-B14F-4D97-AF65-F5344CB8AC3E}">
        <p14:creationId xmlns:p14="http://schemas.microsoft.com/office/powerpoint/2010/main" val="37299782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8661400" cy="4445000"/>
          </a:xfrm>
          <a:prstGeom prst="rect">
            <a:avLst/>
          </a:prstGeom>
        </p:spPr>
      </p:pic>
      <p:sp>
        <p:nvSpPr>
          <p:cNvPr id="5" name="TextBox 4"/>
          <p:cNvSpPr txBox="1"/>
          <p:nvPr/>
        </p:nvSpPr>
        <p:spPr>
          <a:xfrm>
            <a:off x="174625" y="4629150"/>
            <a:ext cx="8486775"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latin typeface="+mj-lt"/>
              </a:rPr>
              <a:t>“I can’t find a happy Hadoop customer. It’s sort of as simple as that,” says Bob Muglia, CEO of </a:t>
            </a:r>
            <a:r>
              <a:rPr lang="en-US" sz="2000" dirty="0">
                <a:solidFill>
                  <a:srgbClr val="FFC000"/>
                </a:solidFill>
                <a:latin typeface="+mj-lt"/>
                <a:hlinkClick r:id="rId3"/>
              </a:rPr>
              <a:t>Snowflake Computing</a:t>
            </a:r>
            <a:r>
              <a:rPr lang="en-US" sz="2000" dirty="0">
                <a:latin typeface="+mj-lt"/>
              </a:rPr>
              <a:t>, which develops and runs a cloud-based relational data warehouse offering.</a:t>
            </a:r>
            <a:endParaRPr lang="en-US" sz="2000" dirty="0" smtClean="0">
              <a:gradFill>
                <a:gsLst>
                  <a:gs pos="2917">
                    <a:schemeClr val="tx1"/>
                  </a:gs>
                  <a:gs pos="30000">
                    <a:schemeClr val="tx1"/>
                  </a:gs>
                </a:gsLst>
                <a:lin ang="5400000" scaled="0"/>
              </a:gradFill>
              <a:latin typeface="+mj-lt"/>
            </a:endParaRPr>
          </a:p>
        </p:txBody>
      </p:sp>
      <p:pic>
        <p:nvPicPr>
          <p:cNvPr id="6" name="Picture 5"/>
          <p:cNvPicPr>
            <a:picLocks noChangeAspect="1"/>
          </p:cNvPicPr>
          <p:nvPr/>
        </p:nvPicPr>
        <p:blipFill>
          <a:blip r:embed="rId4"/>
          <a:stretch>
            <a:fillRect/>
          </a:stretch>
        </p:blipFill>
        <p:spPr>
          <a:xfrm>
            <a:off x="174625" y="5939762"/>
            <a:ext cx="9601200" cy="1003300"/>
          </a:xfrm>
          <a:prstGeom prst="rect">
            <a:avLst/>
          </a:prstGeom>
        </p:spPr>
      </p:pic>
      <p:pic>
        <p:nvPicPr>
          <p:cNvPr id="7" name="Picture 6"/>
          <p:cNvPicPr>
            <a:picLocks noChangeAspect="1"/>
          </p:cNvPicPr>
          <p:nvPr/>
        </p:nvPicPr>
        <p:blipFill>
          <a:blip r:embed="rId5"/>
          <a:stretch>
            <a:fillRect/>
          </a:stretch>
        </p:blipFill>
        <p:spPr>
          <a:xfrm>
            <a:off x="8371595" y="-398131"/>
            <a:ext cx="4290303" cy="3569956"/>
          </a:xfrm>
          <a:prstGeom prst="rect">
            <a:avLst/>
          </a:prstGeom>
        </p:spPr>
      </p:pic>
      <p:pic>
        <p:nvPicPr>
          <p:cNvPr id="9" name="Picture 8"/>
          <p:cNvPicPr>
            <a:picLocks noChangeAspect="1"/>
          </p:cNvPicPr>
          <p:nvPr/>
        </p:nvPicPr>
        <p:blipFill>
          <a:blip r:embed="rId6"/>
          <a:stretch>
            <a:fillRect/>
          </a:stretch>
        </p:blipFill>
        <p:spPr>
          <a:xfrm>
            <a:off x="7181453" y="3109"/>
            <a:ext cx="5255022" cy="7006696"/>
          </a:xfrm>
          <a:prstGeom prst="rect">
            <a:avLst/>
          </a:prstGeom>
        </p:spPr>
      </p:pic>
      <p:pic>
        <p:nvPicPr>
          <p:cNvPr id="2" name="Picture 1"/>
          <p:cNvPicPr>
            <a:picLocks noChangeAspect="1"/>
          </p:cNvPicPr>
          <p:nvPr/>
        </p:nvPicPr>
        <p:blipFill>
          <a:blip r:embed="rId7"/>
          <a:stretch>
            <a:fillRect/>
          </a:stretch>
        </p:blipFill>
        <p:spPr>
          <a:xfrm>
            <a:off x="8992746" y="3544489"/>
            <a:ext cx="3048000" cy="1714500"/>
          </a:xfrm>
          <a:prstGeom prst="rect">
            <a:avLst/>
          </a:prstGeom>
        </p:spPr>
      </p:pic>
    </p:spTree>
    <p:extLst>
      <p:ext uri="{BB962C8B-B14F-4D97-AF65-F5344CB8AC3E}">
        <p14:creationId xmlns:p14="http://schemas.microsoft.com/office/powerpoint/2010/main" val="92657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dissolv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circle(in)">
                                      <p:cBhvr>
                                        <p:cTn id="18" dur="20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8" presetClass="entr" presetSubtype="12"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strips(downLeft)">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anim calcmode="lin" valueType="num">
                                      <p:cBhvr additive="base">
                                        <p:cTn id="28" dur="500" fill="hold"/>
                                        <p:tgtEl>
                                          <p:spTgt spid="2"/>
                                        </p:tgtEl>
                                        <p:attrNameLst>
                                          <p:attrName>ppt_x</p:attrName>
                                        </p:attrNameLst>
                                      </p:cBhvr>
                                      <p:tavLst>
                                        <p:tav tm="0">
                                          <p:val>
                                            <p:strVal val="#ppt_x"/>
                                          </p:val>
                                        </p:tav>
                                        <p:tav tm="100000">
                                          <p:val>
                                            <p:strVal val="#ppt_x"/>
                                          </p:val>
                                        </p:tav>
                                      </p:tavLst>
                                    </p:anim>
                                    <p:anim calcmode="lin" valueType="num">
                                      <p:cBhvr additive="base">
                                        <p:cTn id="29"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55" presetClass="entr" presetSubtype="0"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p:cTn id="34" dur="1000" fill="hold"/>
                                        <p:tgtEl>
                                          <p:spTgt spid="9"/>
                                        </p:tgtEl>
                                        <p:attrNameLst>
                                          <p:attrName>ppt_w</p:attrName>
                                        </p:attrNameLst>
                                      </p:cBhvr>
                                      <p:tavLst>
                                        <p:tav tm="0">
                                          <p:val>
                                            <p:strVal val="#ppt_w*0.70"/>
                                          </p:val>
                                        </p:tav>
                                        <p:tav tm="100000">
                                          <p:val>
                                            <p:strVal val="#ppt_w"/>
                                          </p:val>
                                        </p:tav>
                                      </p:tavLst>
                                    </p:anim>
                                    <p:anim calcmode="lin" valueType="num">
                                      <p:cBhvr>
                                        <p:cTn id="35" dur="1000" fill="hold"/>
                                        <p:tgtEl>
                                          <p:spTgt spid="9"/>
                                        </p:tgtEl>
                                        <p:attrNameLst>
                                          <p:attrName>ppt_h</p:attrName>
                                        </p:attrNameLst>
                                      </p:cBhvr>
                                      <p:tavLst>
                                        <p:tav tm="0">
                                          <p:val>
                                            <p:strVal val="#ppt_h"/>
                                          </p:val>
                                        </p:tav>
                                        <p:tav tm="100000">
                                          <p:val>
                                            <p:strVal val="#ppt_h"/>
                                          </p:val>
                                        </p:tav>
                                      </p:tavLst>
                                    </p:anim>
                                    <p:animEffect transition="in" filter="fade">
                                      <p:cBhvr>
                                        <p:cTn id="36"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4.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5.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6.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f66288b0-3e07-4abd-8b7c-cd9be0b434bb" Revision="1" Stencil="System.MyShapes" StencilVersion="1.0"/>
</Control>
</file>

<file path=customXml/item5.xml><?xml version="1.0" encoding="utf-8"?>
<Control xmlns="http://schemas.microsoft.com/VisualStudio/2011/storyboarding/control">
  <Id Name="f66288b0-3e07-4abd-8b7c-cd9be0b434bb" Revision="1" Stencil="System.MyShapes" StencilVersion="1.0"/>
</Control>
</file>

<file path=customXml/item6.xml><?xml version="1.0" encoding="utf-8"?>
<Control xmlns="http://schemas.microsoft.com/VisualStudio/2011/storyboarding/control">
  <Id Name="f66288b0-3e07-4abd-8b7c-cd9be0b434bb" Revision="1" Stencil="System.MyShapes" StencilVersion="1.0"/>
</Control>
</file>

<file path=customXml/item7.xml><?xml version="1.0" encoding="utf-8"?>
<Control xmlns="http://schemas.microsoft.com/VisualStudio/2011/storyboarding/control">
  <Id Name="f66288b0-3e07-4abd-8b7c-cd9be0b434bb" Revision="1" Stencil="System.MyShapes" StencilVersion="1.0"/>
</Control>
</file>

<file path=customXml/item8.xml><?xml version="1.0" encoding="utf-8"?>
<Control xmlns="http://schemas.microsoft.com/VisualStudio/2011/storyboarding/control">
  <Id Name="f66288b0-3e07-4abd-8b7c-cd9be0b434bb" Revision="1" Stencil="System.MyShapes" StencilVersion="1.0"/>
</Control>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482F2F24-BB41-4CDC-8A3D-AC4FBCC74BA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7C9B37D-3E93-4138-9434-8299308001F8}">
  <ds:schemaRefs>
    <ds:schemaRef ds:uri="http://schemas.microsoft.com/VisualStudio/2011/storyboarding/control"/>
  </ds:schemaRefs>
</ds:datastoreItem>
</file>

<file path=customXml/itemProps5.xml><?xml version="1.0" encoding="utf-8"?>
<ds:datastoreItem xmlns:ds="http://schemas.openxmlformats.org/officeDocument/2006/customXml" ds:itemID="{F58D1338-1FEC-422D-B217-0301103C30E9}">
  <ds:schemaRefs>
    <ds:schemaRef ds:uri="http://schemas.microsoft.com/VisualStudio/2011/storyboarding/control"/>
  </ds:schemaRefs>
</ds:datastoreItem>
</file>

<file path=customXml/itemProps6.xml><?xml version="1.0" encoding="utf-8"?>
<ds:datastoreItem xmlns:ds="http://schemas.openxmlformats.org/officeDocument/2006/customXml" ds:itemID="{831C4E93-909E-43D6-A900-83F381ED0C8F}">
  <ds:schemaRefs>
    <ds:schemaRef ds:uri="http://schemas.microsoft.com/VisualStudio/2011/storyboarding/control"/>
  </ds:schemaRefs>
</ds:datastoreItem>
</file>

<file path=customXml/itemProps7.xml><?xml version="1.0" encoding="utf-8"?>
<ds:datastoreItem xmlns:ds="http://schemas.openxmlformats.org/officeDocument/2006/customXml" ds:itemID="{9CE45FB9-740B-4DF4-AE74-11DB898060D3}">
  <ds:schemaRefs>
    <ds:schemaRef ds:uri="http://schemas.microsoft.com/VisualStudio/2011/storyboarding/control"/>
  </ds:schemaRefs>
</ds:datastoreItem>
</file>

<file path=customXml/itemProps8.xml><?xml version="1.0" encoding="utf-8"?>
<ds:datastoreItem xmlns:ds="http://schemas.openxmlformats.org/officeDocument/2006/customXml" ds:itemID="{D64E7DE8-7010-441D-B4DA-F50E4D1D5180}">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7854</TotalTime>
  <Words>4854</Words>
  <Application>Microsoft Macintosh PowerPoint</Application>
  <PresentationFormat>Custom</PresentationFormat>
  <Paragraphs>790</Paragraphs>
  <Slides>51</Slides>
  <Notes>42</Notes>
  <HiddenSlides>0</HiddenSlides>
  <MMClips>0</MMClips>
  <ScaleCrop>false</ScaleCrop>
  <HeadingPairs>
    <vt:vector size="6" baseType="variant">
      <vt:variant>
        <vt:lpstr>Fonts Used</vt:lpstr>
      </vt:variant>
      <vt:variant>
        <vt:i4>19</vt:i4>
      </vt:variant>
      <vt:variant>
        <vt:lpstr>Theme</vt:lpstr>
      </vt:variant>
      <vt:variant>
        <vt:i4>17</vt:i4>
      </vt:variant>
      <vt:variant>
        <vt:lpstr>Slide Titles</vt:lpstr>
      </vt:variant>
      <vt:variant>
        <vt:i4>51</vt:i4>
      </vt:variant>
    </vt:vector>
  </HeadingPairs>
  <TitlesOfParts>
    <vt:vector size="87" baseType="lpstr">
      <vt:lpstr>Calibri</vt:lpstr>
      <vt:lpstr>Calibri Light</vt:lpstr>
      <vt:lpstr>Consolas</vt:lpstr>
      <vt:lpstr>MS PGothic</vt:lpstr>
      <vt:lpstr>ＭＳ Ｐゴシック</vt:lpstr>
      <vt:lpstr>Segoe Light</vt:lpstr>
      <vt:lpstr>Segoe Pro</vt:lpstr>
      <vt:lpstr>Segoe Pro Light</vt:lpstr>
      <vt:lpstr>Segoe UI</vt:lpstr>
      <vt:lpstr>Segoe UI Light</vt:lpstr>
      <vt:lpstr>Segoe UI Semibold</vt:lpstr>
      <vt:lpstr>Segoe UI Semilight</vt:lpstr>
      <vt:lpstr>Symbol</vt:lpstr>
      <vt:lpstr>Times New Roman</vt:lpstr>
      <vt:lpstr>wf_segoe-ui_normal</vt:lpstr>
      <vt:lpstr>Wingdings</vt:lpstr>
      <vt:lpstr>Wingdings 3</vt:lpstr>
      <vt:lpstr>Arial</vt:lpstr>
      <vt:lpstr>Arial</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2_Windows Server</vt:lpstr>
      <vt:lpstr>1_Data Insights</vt:lpstr>
      <vt:lpstr>ads-edu-theme</vt:lpstr>
      <vt:lpstr>COLOR TEMPLATE</vt:lpstr>
      <vt:lpstr>5-30535_Machine_Learning_Template</vt:lpstr>
      <vt:lpstr>Hadoop on HDInsight Overview</vt:lpstr>
      <vt:lpstr>Introduction</vt:lpstr>
      <vt:lpstr>PowerPoint Presentation</vt:lpstr>
      <vt:lpstr>PowerPoint Presentation</vt:lpstr>
      <vt:lpstr>PowerPoint Presentation</vt:lpstr>
      <vt:lpstr>PowerPoint Presentation</vt:lpstr>
      <vt:lpstr>Fundamentals of Hadoop on HDInsight</vt:lpstr>
      <vt:lpstr>Positioning the various big data solutions</vt:lpstr>
      <vt:lpstr>PowerPoint Presentation</vt:lpstr>
      <vt:lpstr>PowerPoint Presentation</vt:lpstr>
      <vt:lpstr>The Big Data Zoo</vt:lpstr>
      <vt:lpstr>Deprecation of HDInsight on Windows</vt:lpstr>
      <vt:lpstr>Benefits of Azure HDInsight</vt:lpstr>
      <vt:lpstr>PowerPoint Presentation</vt:lpstr>
      <vt:lpstr>PowerPoint Presentation</vt:lpstr>
      <vt:lpstr>PowerPoint Presentation</vt:lpstr>
      <vt:lpstr>PowerPoint Presentation</vt:lpstr>
      <vt:lpstr>HDInsight: Optimized for the Cloud</vt:lpstr>
      <vt:lpstr>PowerPoint Presentation</vt:lpstr>
      <vt:lpstr>PowerPoint Presentation</vt:lpstr>
      <vt:lpstr>PowerPoint Presentation</vt:lpstr>
      <vt:lpstr>PowerPoint Presentation</vt:lpstr>
      <vt:lpstr>PowerPoint Presentation</vt:lpstr>
      <vt:lpstr>Easy for data scientists with familiar R langu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load Variants</vt:lpstr>
      <vt:lpstr>Usage of Throughput</vt:lpstr>
      <vt:lpstr>Consume Available Throughput</vt:lpstr>
      <vt:lpstr>ADLS Provides Massive Throughput</vt:lpstr>
      <vt:lpstr>Anatomy of an HDInsight Cluster</vt:lpstr>
      <vt:lpstr>Anatomy of an HDInsight Cluster</vt:lpstr>
      <vt:lpstr>Physical Level</vt:lpstr>
      <vt:lpstr>Physical Level</vt:lpstr>
      <vt:lpstr>Physical Level</vt:lpstr>
      <vt:lpstr>Anatomy of an HDInsight Cluster</vt:lpstr>
      <vt:lpstr>YARN Level</vt:lpstr>
      <vt:lpstr>YARN Level</vt:lpstr>
      <vt:lpstr>Anatomy of an HDInsight Cluster</vt:lpstr>
      <vt:lpstr>Workload Level</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53</cp:revision>
  <dcterms:created xsi:type="dcterms:W3CDTF">2013-10-14T18:44:32Z</dcterms:created>
  <dcterms:modified xsi:type="dcterms:W3CDTF">2017-05-15T08:1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